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s/slide78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68.xml" ContentType="application/vnd.openxmlformats-officedocument.presentationml.tags+xml"/>
  <Override PartName="/ppt/notesSlides/notesSlide78.xml" ContentType="application/vnd.openxmlformats-officedocument.presentationml.notesSlid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343" r:id="rId81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slide" Target="/ppt/slides/slide78.xml" Id="rId81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2.vml.rels>&#65279;<?xml version="1.0" encoding="utf-8"?><Relationships xmlns="http://schemas.openxmlformats.org/package/2006/relationships"><Relationship Type="http://schemas.openxmlformats.org/officeDocument/2006/relationships/image" Target="/ppt/media/image92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78.xml.rels>&#65279;<?xml version="1.0" encoding="utf-8"?><Relationships xmlns="http://schemas.openxmlformats.org/package/2006/relationships"><Relationship Type="http://schemas.openxmlformats.org/officeDocument/2006/relationships/slide" Target="/ppt/slides/slide78.xml" Id="rId2" /><Relationship Type="http://schemas.openxmlformats.org/officeDocument/2006/relationships/notesMaster" Target="/ppt/notesMasters/notesMaster1.xml" Id="rId1" /></Relationship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68460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78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68.xml" Id="rId2" /><Relationship Type="http://schemas.openxmlformats.org/officeDocument/2006/relationships/vmlDrawing" Target="/ppt/drawings/vmlDrawing82.vml" Id="rId1" /><Relationship Type="http://schemas.openxmlformats.org/officeDocument/2006/relationships/image" Target="/ppt/media/image92.emf" Id="rId6" /><Relationship Type="http://schemas.openxmlformats.org/officeDocument/2006/relationships/oleObject" Target="/ppt/embeddings/oleObject82.bin" Id="rId5" /><Relationship Type="http://schemas.openxmlformats.org/officeDocument/2006/relationships/notesSlide" Target="/ppt/notesSlides/notesSlide78.xml" Id="rId4" /></Relationships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A54273D-FDA7-1D2C-FB24-F7BC3F9F0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250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7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4273D-FDA7-1D2C-FB24-F7BC3F9F0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980573" y="1160398"/>
            <a:ext cx="4230858" cy="5338208"/>
            <a:chOff x="13051253" y="2529788"/>
            <a:chExt cx="9201937" cy="11610388"/>
          </a:xfrm>
          <a:solidFill>
            <a:schemeClr val="bg2"/>
          </a:solidFill>
        </p:grpSpPr>
        <p:sp>
          <p:nvSpPr>
            <p:cNvPr id="43" name="Freeform 42"/>
            <p:cNvSpPr>
              <a:spLocks noChangeArrowheads="1"/>
            </p:cNvSpPr>
            <p:nvPr/>
          </p:nvSpPr>
          <p:spPr bwMode="auto">
            <a:xfrm>
              <a:off x="14221428" y="8532255"/>
              <a:ext cx="1306871" cy="2464781"/>
            </a:xfrm>
            <a:custGeom>
              <a:avLst/>
              <a:gdLst>
                <a:gd name="T0" fmla="*/ 577 w 2783"/>
                <a:gd name="T1" fmla="*/ 2595 h 5246"/>
                <a:gd name="T2" fmla="*/ 452 w 2783"/>
                <a:gd name="T3" fmla="*/ 2755 h 5246"/>
                <a:gd name="T4" fmla="*/ 542 w 2783"/>
                <a:gd name="T5" fmla="*/ 2977 h 5246"/>
                <a:gd name="T6" fmla="*/ 577 w 2783"/>
                <a:gd name="T7" fmla="*/ 2963 h 5246"/>
                <a:gd name="T8" fmla="*/ 681 w 2783"/>
                <a:gd name="T9" fmla="*/ 3179 h 5246"/>
                <a:gd name="T10" fmla="*/ 688 w 2783"/>
                <a:gd name="T11" fmla="*/ 3395 h 5246"/>
                <a:gd name="T12" fmla="*/ 591 w 2783"/>
                <a:gd name="T13" fmla="*/ 3374 h 5246"/>
                <a:gd name="T14" fmla="*/ 528 w 2783"/>
                <a:gd name="T15" fmla="*/ 3583 h 5246"/>
                <a:gd name="T16" fmla="*/ 431 w 2783"/>
                <a:gd name="T17" fmla="*/ 4069 h 5246"/>
                <a:gd name="T18" fmla="*/ 473 w 2783"/>
                <a:gd name="T19" fmla="*/ 4229 h 5246"/>
                <a:gd name="T20" fmla="*/ 452 w 2783"/>
                <a:gd name="T21" fmla="*/ 4598 h 5246"/>
                <a:gd name="T22" fmla="*/ 528 w 2783"/>
                <a:gd name="T23" fmla="*/ 4807 h 5246"/>
                <a:gd name="T24" fmla="*/ 389 w 2783"/>
                <a:gd name="T25" fmla="*/ 4897 h 5246"/>
                <a:gd name="T26" fmla="*/ 584 w 2783"/>
                <a:gd name="T27" fmla="*/ 4807 h 5246"/>
                <a:gd name="T28" fmla="*/ 619 w 2783"/>
                <a:gd name="T29" fmla="*/ 4800 h 5246"/>
                <a:gd name="T30" fmla="*/ 709 w 2783"/>
                <a:gd name="T31" fmla="*/ 4932 h 5246"/>
                <a:gd name="T32" fmla="*/ 779 w 2783"/>
                <a:gd name="T33" fmla="*/ 5182 h 5246"/>
                <a:gd name="T34" fmla="*/ 869 w 2783"/>
                <a:gd name="T35" fmla="*/ 5155 h 5246"/>
                <a:gd name="T36" fmla="*/ 1099 w 2783"/>
                <a:gd name="T37" fmla="*/ 5196 h 5246"/>
                <a:gd name="T38" fmla="*/ 1412 w 2783"/>
                <a:gd name="T39" fmla="*/ 4995 h 5246"/>
                <a:gd name="T40" fmla="*/ 1440 w 2783"/>
                <a:gd name="T41" fmla="*/ 4688 h 5246"/>
                <a:gd name="T42" fmla="*/ 1718 w 2783"/>
                <a:gd name="T43" fmla="*/ 4473 h 5246"/>
                <a:gd name="T44" fmla="*/ 2087 w 2783"/>
                <a:gd name="T45" fmla="*/ 4633 h 5246"/>
                <a:gd name="T46" fmla="*/ 2281 w 2783"/>
                <a:gd name="T47" fmla="*/ 4730 h 5246"/>
                <a:gd name="T48" fmla="*/ 2358 w 2783"/>
                <a:gd name="T49" fmla="*/ 4424 h 5246"/>
                <a:gd name="T50" fmla="*/ 2462 w 2783"/>
                <a:gd name="T51" fmla="*/ 3805 h 5246"/>
                <a:gd name="T52" fmla="*/ 2525 w 2783"/>
                <a:gd name="T53" fmla="*/ 3408 h 5246"/>
                <a:gd name="T54" fmla="*/ 2587 w 2783"/>
                <a:gd name="T55" fmla="*/ 2929 h 5246"/>
                <a:gd name="T56" fmla="*/ 2615 w 2783"/>
                <a:gd name="T57" fmla="*/ 2650 h 5246"/>
                <a:gd name="T58" fmla="*/ 2539 w 2783"/>
                <a:gd name="T59" fmla="*/ 2038 h 5246"/>
                <a:gd name="T60" fmla="*/ 2720 w 2783"/>
                <a:gd name="T61" fmla="*/ 1509 h 5246"/>
                <a:gd name="T62" fmla="*/ 2601 w 2783"/>
                <a:gd name="T63" fmla="*/ 1162 h 5246"/>
                <a:gd name="T64" fmla="*/ 2601 w 2783"/>
                <a:gd name="T65" fmla="*/ 925 h 5246"/>
                <a:gd name="T66" fmla="*/ 2490 w 2783"/>
                <a:gd name="T67" fmla="*/ 835 h 5246"/>
                <a:gd name="T68" fmla="*/ 2351 w 2783"/>
                <a:gd name="T69" fmla="*/ 737 h 5246"/>
                <a:gd name="T70" fmla="*/ 2323 w 2783"/>
                <a:gd name="T71" fmla="*/ 723 h 5246"/>
                <a:gd name="T72" fmla="*/ 2414 w 2783"/>
                <a:gd name="T73" fmla="*/ 584 h 5246"/>
                <a:gd name="T74" fmla="*/ 2406 w 2783"/>
                <a:gd name="T75" fmla="*/ 522 h 5246"/>
                <a:gd name="T76" fmla="*/ 2316 w 2783"/>
                <a:gd name="T77" fmla="*/ 501 h 5246"/>
                <a:gd name="T78" fmla="*/ 2309 w 2783"/>
                <a:gd name="T79" fmla="*/ 424 h 5246"/>
                <a:gd name="T80" fmla="*/ 2316 w 2783"/>
                <a:gd name="T81" fmla="*/ 271 h 5246"/>
                <a:gd name="T82" fmla="*/ 2219 w 2783"/>
                <a:gd name="T83" fmla="*/ 257 h 5246"/>
                <a:gd name="T84" fmla="*/ 2135 w 2783"/>
                <a:gd name="T85" fmla="*/ 243 h 5246"/>
                <a:gd name="T86" fmla="*/ 2045 w 2783"/>
                <a:gd name="T87" fmla="*/ 167 h 5246"/>
                <a:gd name="T88" fmla="*/ 1899 w 2783"/>
                <a:gd name="T89" fmla="*/ 139 h 5246"/>
                <a:gd name="T90" fmla="*/ 1822 w 2783"/>
                <a:gd name="T91" fmla="*/ 28 h 5246"/>
                <a:gd name="T92" fmla="*/ 1662 w 2783"/>
                <a:gd name="T93" fmla="*/ 35 h 5246"/>
                <a:gd name="T94" fmla="*/ 1634 w 2783"/>
                <a:gd name="T95" fmla="*/ 229 h 5246"/>
                <a:gd name="T96" fmla="*/ 1328 w 2783"/>
                <a:gd name="T97" fmla="*/ 452 h 5246"/>
                <a:gd name="T98" fmla="*/ 1050 w 2783"/>
                <a:gd name="T99" fmla="*/ 751 h 5246"/>
                <a:gd name="T100" fmla="*/ 473 w 2783"/>
                <a:gd name="T101" fmla="*/ 918 h 5246"/>
                <a:gd name="T102" fmla="*/ 69 w 2783"/>
                <a:gd name="T103" fmla="*/ 716 h 5246"/>
                <a:gd name="T104" fmla="*/ 34 w 2783"/>
                <a:gd name="T105" fmla="*/ 1092 h 5246"/>
                <a:gd name="T106" fmla="*/ 13 w 2783"/>
                <a:gd name="T107" fmla="*/ 1391 h 5246"/>
                <a:gd name="T108" fmla="*/ 125 w 2783"/>
                <a:gd name="T109" fmla="*/ 1454 h 5246"/>
                <a:gd name="T110" fmla="*/ 285 w 2783"/>
                <a:gd name="T111" fmla="*/ 1523 h 5246"/>
                <a:gd name="T112" fmla="*/ 410 w 2783"/>
                <a:gd name="T113" fmla="*/ 2003 h 5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83" h="5246">
                  <a:moveTo>
                    <a:pt x="556" y="2198"/>
                  </a:moveTo>
                  <a:lnTo>
                    <a:pt x="542" y="2240"/>
                  </a:lnTo>
                  <a:lnTo>
                    <a:pt x="542" y="2303"/>
                  </a:lnTo>
                  <a:lnTo>
                    <a:pt x="528" y="2372"/>
                  </a:lnTo>
                  <a:lnTo>
                    <a:pt x="528" y="2400"/>
                  </a:lnTo>
                  <a:lnTo>
                    <a:pt x="556" y="2476"/>
                  </a:lnTo>
                  <a:lnTo>
                    <a:pt x="584" y="2553"/>
                  </a:lnTo>
                  <a:lnTo>
                    <a:pt x="577" y="2595"/>
                  </a:lnTo>
                  <a:lnTo>
                    <a:pt x="549" y="2622"/>
                  </a:lnTo>
                  <a:lnTo>
                    <a:pt x="507" y="2650"/>
                  </a:lnTo>
                  <a:lnTo>
                    <a:pt x="445" y="2657"/>
                  </a:lnTo>
                  <a:lnTo>
                    <a:pt x="431" y="2650"/>
                  </a:lnTo>
                  <a:lnTo>
                    <a:pt x="396" y="2685"/>
                  </a:lnTo>
                  <a:lnTo>
                    <a:pt x="445" y="2692"/>
                  </a:lnTo>
                  <a:lnTo>
                    <a:pt x="452" y="2734"/>
                  </a:lnTo>
                  <a:lnTo>
                    <a:pt x="452" y="2755"/>
                  </a:lnTo>
                  <a:lnTo>
                    <a:pt x="424" y="2817"/>
                  </a:lnTo>
                  <a:lnTo>
                    <a:pt x="431" y="2935"/>
                  </a:lnTo>
                  <a:lnTo>
                    <a:pt x="445" y="2984"/>
                  </a:lnTo>
                  <a:lnTo>
                    <a:pt x="486" y="3012"/>
                  </a:lnTo>
                  <a:lnTo>
                    <a:pt x="486" y="3054"/>
                  </a:lnTo>
                  <a:lnTo>
                    <a:pt x="494" y="3061"/>
                  </a:lnTo>
                  <a:lnTo>
                    <a:pt x="521" y="2998"/>
                  </a:lnTo>
                  <a:lnTo>
                    <a:pt x="542" y="2977"/>
                  </a:lnTo>
                  <a:lnTo>
                    <a:pt x="514" y="2991"/>
                  </a:lnTo>
                  <a:lnTo>
                    <a:pt x="514" y="2984"/>
                  </a:lnTo>
                  <a:lnTo>
                    <a:pt x="494" y="2991"/>
                  </a:lnTo>
                  <a:lnTo>
                    <a:pt x="514" y="2963"/>
                  </a:lnTo>
                  <a:lnTo>
                    <a:pt x="556" y="2949"/>
                  </a:lnTo>
                  <a:lnTo>
                    <a:pt x="605" y="2949"/>
                  </a:lnTo>
                  <a:lnTo>
                    <a:pt x="612" y="2949"/>
                  </a:lnTo>
                  <a:lnTo>
                    <a:pt x="577" y="2963"/>
                  </a:lnTo>
                  <a:lnTo>
                    <a:pt x="640" y="2963"/>
                  </a:lnTo>
                  <a:lnTo>
                    <a:pt x="661" y="3012"/>
                  </a:lnTo>
                  <a:lnTo>
                    <a:pt x="674" y="3026"/>
                  </a:lnTo>
                  <a:lnTo>
                    <a:pt x="688" y="3130"/>
                  </a:lnTo>
                  <a:lnTo>
                    <a:pt x="723" y="3144"/>
                  </a:lnTo>
                  <a:lnTo>
                    <a:pt x="702" y="3158"/>
                  </a:lnTo>
                  <a:lnTo>
                    <a:pt x="688" y="3130"/>
                  </a:lnTo>
                  <a:lnTo>
                    <a:pt x="681" y="3179"/>
                  </a:lnTo>
                  <a:lnTo>
                    <a:pt x="619" y="3297"/>
                  </a:lnTo>
                  <a:lnTo>
                    <a:pt x="681" y="3221"/>
                  </a:lnTo>
                  <a:lnTo>
                    <a:pt x="605" y="3353"/>
                  </a:lnTo>
                  <a:lnTo>
                    <a:pt x="619" y="3374"/>
                  </a:lnTo>
                  <a:lnTo>
                    <a:pt x="626" y="3374"/>
                  </a:lnTo>
                  <a:lnTo>
                    <a:pt x="646" y="3388"/>
                  </a:lnTo>
                  <a:lnTo>
                    <a:pt x="653" y="3408"/>
                  </a:lnTo>
                  <a:lnTo>
                    <a:pt x="688" y="3395"/>
                  </a:lnTo>
                  <a:lnTo>
                    <a:pt x="702" y="3416"/>
                  </a:lnTo>
                  <a:lnTo>
                    <a:pt x="709" y="3443"/>
                  </a:lnTo>
                  <a:lnTo>
                    <a:pt x="674" y="3422"/>
                  </a:lnTo>
                  <a:lnTo>
                    <a:pt x="626" y="3429"/>
                  </a:lnTo>
                  <a:lnTo>
                    <a:pt x="626" y="3416"/>
                  </a:lnTo>
                  <a:lnTo>
                    <a:pt x="605" y="3388"/>
                  </a:lnTo>
                  <a:lnTo>
                    <a:pt x="577" y="3381"/>
                  </a:lnTo>
                  <a:lnTo>
                    <a:pt x="591" y="3374"/>
                  </a:lnTo>
                  <a:lnTo>
                    <a:pt x="521" y="3256"/>
                  </a:lnTo>
                  <a:lnTo>
                    <a:pt x="514" y="3283"/>
                  </a:lnTo>
                  <a:lnTo>
                    <a:pt x="514" y="3381"/>
                  </a:lnTo>
                  <a:lnTo>
                    <a:pt x="514" y="3443"/>
                  </a:lnTo>
                  <a:lnTo>
                    <a:pt x="514" y="3471"/>
                  </a:lnTo>
                  <a:lnTo>
                    <a:pt x="521" y="3492"/>
                  </a:lnTo>
                  <a:lnTo>
                    <a:pt x="521" y="3548"/>
                  </a:lnTo>
                  <a:lnTo>
                    <a:pt x="528" y="3583"/>
                  </a:lnTo>
                  <a:lnTo>
                    <a:pt x="542" y="3617"/>
                  </a:lnTo>
                  <a:lnTo>
                    <a:pt x="521" y="3742"/>
                  </a:lnTo>
                  <a:lnTo>
                    <a:pt x="424" y="3889"/>
                  </a:lnTo>
                  <a:lnTo>
                    <a:pt x="410" y="3937"/>
                  </a:lnTo>
                  <a:lnTo>
                    <a:pt x="417" y="3951"/>
                  </a:lnTo>
                  <a:lnTo>
                    <a:pt x="431" y="3972"/>
                  </a:lnTo>
                  <a:lnTo>
                    <a:pt x="452" y="3979"/>
                  </a:lnTo>
                  <a:lnTo>
                    <a:pt x="431" y="4069"/>
                  </a:lnTo>
                  <a:lnTo>
                    <a:pt x="396" y="4104"/>
                  </a:lnTo>
                  <a:lnTo>
                    <a:pt x="396" y="4132"/>
                  </a:lnTo>
                  <a:lnTo>
                    <a:pt x="396" y="4118"/>
                  </a:lnTo>
                  <a:lnTo>
                    <a:pt x="410" y="4139"/>
                  </a:lnTo>
                  <a:lnTo>
                    <a:pt x="417" y="4174"/>
                  </a:lnTo>
                  <a:lnTo>
                    <a:pt x="417" y="4195"/>
                  </a:lnTo>
                  <a:lnTo>
                    <a:pt x="431" y="4202"/>
                  </a:lnTo>
                  <a:lnTo>
                    <a:pt x="473" y="4229"/>
                  </a:lnTo>
                  <a:lnTo>
                    <a:pt x="486" y="4271"/>
                  </a:lnTo>
                  <a:lnTo>
                    <a:pt x="486" y="4327"/>
                  </a:lnTo>
                  <a:lnTo>
                    <a:pt x="424" y="4403"/>
                  </a:lnTo>
                  <a:lnTo>
                    <a:pt x="389" y="4438"/>
                  </a:lnTo>
                  <a:lnTo>
                    <a:pt x="389" y="4494"/>
                  </a:lnTo>
                  <a:lnTo>
                    <a:pt x="396" y="4501"/>
                  </a:lnTo>
                  <a:lnTo>
                    <a:pt x="424" y="4508"/>
                  </a:lnTo>
                  <a:lnTo>
                    <a:pt x="452" y="4598"/>
                  </a:lnTo>
                  <a:lnTo>
                    <a:pt x="445" y="4556"/>
                  </a:lnTo>
                  <a:lnTo>
                    <a:pt x="486" y="4598"/>
                  </a:lnTo>
                  <a:lnTo>
                    <a:pt x="486" y="4661"/>
                  </a:lnTo>
                  <a:lnTo>
                    <a:pt x="494" y="4696"/>
                  </a:lnTo>
                  <a:lnTo>
                    <a:pt x="542" y="4688"/>
                  </a:lnTo>
                  <a:lnTo>
                    <a:pt x="577" y="4758"/>
                  </a:lnTo>
                  <a:lnTo>
                    <a:pt x="549" y="4821"/>
                  </a:lnTo>
                  <a:lnTo>
                    <a:pt x="528" y="4807"/>
                  </a:lnTo>
                  <a:lnTo>
                    <a:pt x="507" y="4751"/>
                  </a:lnTo>
                  <a:lnTo>
                    <a:pt x="480" y="4716"/>
                  </a:lnTo>
                  <a:lnTo>
                    <a:pt x="410" y="4730"/>
                  </a:lnTo>
                  <a:lnTo>
                    <a:pt x="382" y="4702"/>
                  </a:lnTo>
                  <a:lnTo>
                    <a:pt x="361" y="4737"/>
                  </a:lnTo>
                  <a:lnTo>
                    <a:pt x="361" y="4758"/>
                  </a:lnTo>
                  <a:lnTo>
                    <a:pt x="354" y="4765"/>
                  </a:lnTo>
                  <a:lnTo>
                    <a:pt x="389" y="4897"/>
                  </a:lnTo>
                  <a:lnTo>
                    <a:pt x="410" y="4925"/>
                  </a:lnTo>
                  <a:lnTo>
                    <a:pt x="452" y="5036"/>
                  </a:lnTo>
                  <a:lnTo>
                    <a:pt x="480" y="5036"/>
                  </a:lnTo>
                  <a:lnTo>
                    <a:pt x="507" y="5015"/>
                  </a:lnTo>
                  <a:lnTo>
                    <a:pt x="521" y="4960"/>
                  </a:lnTo>
                  <a:lnTo>
                    <a:pt x="528" y="4855"/>
                  </a:lnTo>
                  <a:lnTo>
                    <a:pt x="528" y="4848"/>
                  </a:lnTo>
                  <a:lnTo>
                    <a:pt x="584" y="4807"/>
                  </a:lnTo>
                  <a:lnTo>
                    <a:pt x="563" y="4807"/>
                  </a:lnTo>
                  <a:lnTo>
                    <a:pt x="563" y="4793"/>
                  </a:lnTo>
                  <a:lnTo>
                    <a:pt x="584" y="4758"/>
                  </a:lnTo>
                  <a:lnTo>
                    <a:pt x="591" y="4765"/>
                  </a:lnTo>
                  <a:lnTo>
                    <a:pt x="612" y="4758"/>
                  </a:lnTo>
                  <a:lnTo>
                    <a:pt x="619" y="4765"/>
                  </a:lnTo>
                  <a:lnTo>
                    <a:pt x="626" y="4786"/>
                  </a:lnTo>
                  <a:lnTo>
                    <a:pt x="619" y="4800"/>
                  </a:lnTo>
                  <a:lnTo>
                    <a:pt x="619" y="4807"/>
                  </a:lnTo>
                  <a:lnTo>
                    <a:pt x="640" y="4807"/>
                  </a:lnTo>
                  <a:lnTo>
                    <a:pt x="640" y="4793"/>
                  </a:lnTo>
                  <a:lnTo>
                    <a:pt x="681" y="4848"/>
                  </a:lnTo>
                  <a:lnTo>
                    <a:pt x="681" y="4835"/>
                  </a:lnTo>
                  <a:lnTo>
                    <a:pt x="688" y="4848"/>
                  </a:lnTo>
                  <a:lnTo>
                    <a:pt x="723" y="4890"/>
                  </a:lnTo>
                  <a:lnTo>
                    <a:pt x="709" y="4932"/>
                  </a:lnTo>
                  <a:lnTo>
                    <a:pt x="723" y="5002"/>
                  </a:lnTo>
                  <a:lnTo>
                    <a:pt x="751" y="5036"/>
                  </a:lnTo>
                  <a:lnTo>
                    <a:pt x="779" y="5029"/>
                  </a:lnTo>
                  <a:lnTo>
                    <a:pt x="779" y="5036"/>
                  </a:lnTo>
                  <a:lnTo>
                    <a:pt x="786" y="5050"/>
                  </a:lnTo>
                  <a:lnTo>
                    <a:pt x="793" y="5113"/>
                  </a:lnTo>
                  <a:lnTo>
                    <a:pt x="786" y="5134"/>
                  </a:lnTo>
                  <a:lnTo>
                    <a:pt x="779" y="5182"/>
                  </a:lnTo>
                  <a:lnTo>
                    <a:pt x="834" y="5182"/>
                  </a:lnTo>
                  <a:lnTo>
                    <a:pt x="834" y="5217"/>
                  </a:lnTo>
                  <a:lnTo>
                    <a:pt x="820" y="5231"/>
                  </a:lnTo>
                  <a:lnTo>
                    <a:pt x="848" y="5245"/>
                  </a:lnTo>
                  <a:lnTo>
                    <a:pt x="855" y="5210"/>
                  </a:lnTo>
                  <a:lnTo>
                    <a:pt x="848" y="5182"/>
                  </a:lnTo>
                  <a:lnTo>
                    <a:pt x="876" y="5182"/>
                  </a:lnTo>
                  <a:lnTo>
                    <a:pt x="869" y="5155"/>
                  </a:lnTo>
                  <a:lnTo>
                    <a:pt x="876" y="5148"/>
                  </a:lnTo>
                  <a:lnTo>
                    <a:pt x="918" y="5127"/>
                  </a:lnTo>
                  <a:lnTo>
                    <a:pt x="953" y="5113"/>
                  </a:lnTo>
                  <a:lnTo>
                    <a:pt x="967" y="5092"/>
                  </a:lnTo>
                  <a:lnTo>
                    <a:pt x="973" y="5085"/>
                  </a:lnTo>
                  <a:lnTo>
                    <a:pt x="1050" y="5134"/>
                  </a:lnTo>
                  <a:lnTo>
                    <a:pt x="1071" y="5175"/>
                  </a:lnTo>
                  <a:lnTo>
                    <a:pt x="1099" y="5196"/>
                  </a:lnTo>
                  <a:lnTo>
                    <a:pt x="1106" y="5161"/>
                  </a:lnTo>
                  <a:lnTo>
                    <a:pt x="1113" y="5182"/>
                  </a:lnTo>
                  <a:lnTo>
                    <a:pt x="1140" y="5196"/>
                  </a:lnTo>
                  <a:lnTo>
                    <a:pt x="1147" y="5217"/>
                  </a:lnTo>
                  <a:lnTo>
                    <a:pt x="1196" y="5217"/>
                  </a:lnTo>
                  <a:lnTo>
                    <a:pt x="1273" y="5134"/>
                  </a:lnTo>
                  <a:lnTo>
                    <a:pt x="1280" y="5120"/>
                  </a:lnTo>
                  <a:lnTo>
                    <a:pt x="1412" y="4995"/>
                  </a:lnTo>
                  <a:lnTo>
                    <a:pt x="1433" y="4981"/>
                  </a:lnTo>
                  <a:lnTo>
                    <a:pt x="1440" y="4967"/>
                  </a:lnTo>
                  <a:lnTo>
                    <a:pt x="1447" y="4981"/>
                  </a:lnTo>
                  <a:lnTo>
                    <a:pt x="1467" y="4953"/>
                  </a:lnTo>
                  <a:lnTo>
                    <a:pt x="1467" y="4897"/>
                  </a:lnTo>
                  <a:lnTo>
                    <a:pt x="1495" y="4821"/>
                  </a:lnTo>
                  <a:lnTo>
                    <a:pt x="1447" y="4737"/>
                  </a:lnTo>
                  <a:lnTo>
                    <a:pt x="1440" y="4688"/>
                  </a:lnTo>
                  <a:lnTo>
                    <a:pt x="1467" y="4598"/>
                  </a:lnTo>
                  <a:lnTo>
                    <a:pt x="1530" y="4521"/>
                  </a:lnTo>
                  <a:lnTo>
                    <a:pt x="1599" y="4487"/>
                  </a:lnTo>
                  <a:lnTo>
                    <a:pt x="1669" y="4542"/>
                  </a:lnTo>
                  <a:lnTo>
                    <a:pt x="1697" y="4542"/>
                  </a:lnTo>
                  <a:lnTo>
                    <a:pt x="1697" y="4529"/>
                  </a:lnTo>
                  <a:lnTo>
                    <a:pt x="1697" y="4501"/>
                  </a:lnTo>
                  <a:lnTo>
                    <a:pt x="1718" y="4473"/>
                  </a:lnTo>
                  <a:lnTo>
                    <a:pt x="1801" y="4445"/>
                  </a:lnTo>
                  <a:lnTo>
                    <a:pt x="1850" y="4473"/>
                  </a:lnTo>
                  <a:lnTo>
                    <a:pt x="1920" y="4494"/>
                  </a:lnTo>
                  <a:lnTo>
                    <a:pt x="1954" y="4508"/>
                  </a:lnTo>
                  <a:lnTo>
                    <a:pt x="1989" y="4542"/>
                  </a:lnTo>
                  <a:lnTo>
                    <a:pt x="2059" y="4591"/>
                  </a:lnTo>
                  <a:lnTo>
                    <a:pt x="2066" y="4619"/>
                  </a:lnTo>
                  <a:lnTo>
                    <a:pt x="2087" y="4633"/>
                  </a:lnTo>
                  <a:lnTo>
                    <a:pt x="2087" y="4626"/>
                  </a:lnTo>
                  <a:lnTo>
                    <a:pt x="2121" y="4654"/>
                  </a:lnTo>
                  <a:lnTo>
                    <a:pt x="2149" y="4668"/>
                  </a:lnTo>
                  <a:lnTo>
                    <a:pt x="2198" y="4661"/>
                  </a:lnTo>
                  <a:lnTo>
                    <a:pt x="2247" y="4661"/>
                  </a:lnTo>
                  <a:lnTo>
                    <a:pt x="2260" y="4688"/>
                  </a:lnTo>
                  <a:lnTo>
                    <a:pt x="2260" y="4716"/>
                  </a:lnTo>
                  <a:lnTo>
                    <a:pt x="2281" y="4730"/>
                  </a:lnTo>
                  <a:lnTo>
                    <a:pt x="2288" y="4675"/>
                  </a:lnTo>
                  <a:lnTo>
                    <a:pt x="2323" y="4661"/>
                  </a:lnTo>
                  <a:lnTo>
                    <a:pt x="2344" y="4654"/>
                  </a:lnTo>
                  <a:lnTo>
                    <a:pt x="2358" y="4619"/>
                  </a:lnTo>
                  <a:lnTo>
                    <a:pt x="2358" y="4598"/>
                  </a:lnTo>
                  <a:lnTo>
                    <a:pt x="2379" y="4563"/>
                  </a:lnTo>
                  <a:lnTo>
                    <a:pt x="2358" y="4535"/>
                  </a:lnTo>
                  <a:lnTo>
                    <a:pt x="2358" y="4424"/>
                  </a:lnTo>
                  <a:lnTo>
                    <a:pt x="2420" y="4299"/>
                  </a:lnTo>
                  <a:lnTo>
                    <a:pt x="2462" y="4292"/>
                  </a:lnTo>
                  <a:lnTo>
                    <a:pt x="2414" y="4236"/>
                  </a:lnTo>
                  <a:lnTo>
                    <a:pt x="2427" y="4083"/>
                  </a:lnTo>
                  <a:lnTo>
                    <a:pt x="2448" y="4035"/>
                  </a:lnTo>
                  <a:lnTo>
                    <a:pt x="2483" y="3937"/>
                  </a:lnTo>
                  <a:lnTo>
                    <a:pt x="2476" y="3868"/>
                  </a:lnTo>
                  <a:lnTo>
                    <a:pt x="2462" y="3805"/>
                  </a:lnTo>
                  <a:lnTo>
                    <a:pt x="2483" y="3749"/>
                  </a:lnTo>
                  <a:lnTo>
                    <a:pt x="2490" y="3742"/>
                  </a:lnTo>
                  <a:lnTo>
                    <a:pt x="2504" y="3603"/>
                  </a:lnTo>
                  <a:lnTo>
                    <a:pt x="2490" y="3568"/>
                  </a:lnTo>
                  <a:lnTo>
                    <a:pt x="2490" y="3520"/>
                  </a:lnTo>
                  <a:lnTo>
                    <a:pt x="2504" y="3485"/>
                  </a:lnTo>
                  <a:lnTo>
                    <a:pt x="2511" y="3429"/>
                  </a:lnTo>
                  <a:lnTo>
                    <a:pt x="2525" y="3408"/>
                  </a:lnTo>
                  <a:lnTo>
                    <a:pt x="2539" y="3374"/>
                  </a:lnTo>
                  <a:lnTo>
                    <a:pt x="2539" y="3353"/>
                  </a:lnTo>
                  <a:lnTo>
                    <a:pt x="2525" y="3214"/>
                  </a:lnTo>
                  <a:lnTo>
                    <a:pt x="2539" y="3186"/>
                  </a:lnTo>
                  <a:lnTo>
                    <a:pt x="2560" y="3082"/>
                  </a:lnTo>
                  <a:lnTo>
                    <a:pt x="2546" y="3047"/>
                  </a:lnTo>
                  <a:lnTo>
                    <a:pt x="2553" y="2935"/>
                  </a:lnTo>
                  <a:lnTo>
                    <a:pt x="2587" y="2929"/>
                  </a:lnTo>
                  <a:lnTo>
                    <a:pt x="2608" y="2915"/>
                  </a:lnTo>
                  <a:lnTo>
                    <a:pt x="2587" y="2894"/>
                  </a:lnTo>
                  <a:lnTo>
                    <a:pt x="2573" y="2894"/>
                  </a:lnTo>
                  <a:lnTo>
                    <a:pt x="2553" y="2866"/>
                  </a:lnTo>
                  <a:lnTo>
                    <a:pt x="2553" y="2789"/>
                  </a:lnTo>
                  <a:lnTo>
                    <a:pt x="2560" y="2768"/>
                  </a:lnTo>
                  <a:lnTo>
                    <a:pt x="2587" y="2692"/>
                  </a:lnTo>
                  <a:lnTo>
                    <a:pt x="2615" y="2650"/>
                  </a:lnTo>
                  <a:lnTo>
                    <a:pt x="2622" y="2567"/>
                  </a:lnTo>
                  <a:lnTo>
                    <a:pt x="2580" y="2532"/>
                  </a:lnTo>
                  <a:lnTo>
                    <a:pt x="2539" y="2490"/>
                  </a:lnTo>
                  <a:lnTo>
                    <a:pt x="2504" y="2428"/>
                  </a:lnTo>
                  <a:lnTo>
                    <a:pt x="2476" y="2365"/>
                  </a:lnTo>
                  <a:lnTo>
                    <a:pt x="2455" y="2268"/>
                  </a:lnTo>
                  <a:lnTo>
                    <a:pt x="2462" y="2149"/>
                  </a:lnTo>
                  <a:lnTo>
                    <a:pt x="2539" y="2038"/>
                  </a:lnTo>
                  <a:lnTo>
                    <a:pt x="2643" y="1920"/>
                  </a:lnTo>
                  <a:lnTo>
                    <a:pt x="2678" y="1906"/>
                  </a:lnTo>
                  <a:lnTo>
                    <a:pt x="2713" y="1788"/>
                  </a:lnTo>
                  <a:lnTo>
                    <a:pt x="2733" y="1781"/>
                  </a:lnTo>
                  <a:lnTo>
                    <a:pt x="2754" y="1718"/>
                  </a:lnTo>
                  <a:lnTo>
                    <a:pt x="2782" y="1607"/>
                  </a:lnTo>
                  <a:lnTo>
                    <a:pt x="2740" y="1572"/>
                  </a:lnTo>
                  <a:lnTo>
                    <a:pt x="2720" y="1509"/>
                  </a:lnTo>
                  <a:lnTo>
                    <a:pt x="2685" y="1475"/>
                  </a:lnTo>
                  <a:lnTo>
                    <a:pt x="2657" y="1419"/>
                  </a:lnTo>
                  <a:lnTo>
                    <a:pt x="2643" y="1329"/>
                  </a:lnTo>
                  <a:lnTo>
                    <a:pt x="2650" y="1315"/>
                  </a:lnTo>
                  <a:lnTo>
                    <a:pt x="2650" y="1308"/>
                  </a:lnTo>
                  <a:lnTo>
                    <a:pt x="2650" y="1252"/>
                  </a:lnTo>
                  <a:lnTo>
                    <a:pt x="2615" y="1224"/>
                  </a:lnTo>
                  <a:lnTo>
                    <a:pt x="2601" y="1162"/>
                  </a:lnTo>
                  <a:lnTo>
                    <a:pt x="2601" y="1099"/>
                  </a:lnTo>
                  <a:lnTo>
                    <a:pt x="2560" y="1085"/>
                  </a:lnTo>
                  <a:lnTo>
                    <a:pt x="2525" y="1023"/>
                  </a:lnTo>
                  <a:lnTo>
                    <a:pt x="2546" y="988"/>
                  </a:lnTo>
                  <a:lnTo>
                    <a:pt x="2560" y="981"/>
                  </a:lnTo>
                  <a:lnTo>
                    <a:pt x="2546" y="946"/>
                  </a:lnTo>
                  <a:lnTo>
                    <a:pt x="2573" y="918"/>
                  </a:lnTo>
                  <a:lnTo>
                    <a:pt x="2601" y="925"/>
                  </a:lnTo>
                  <a:lnTo>
                    <a:pt x="2615" y="911"/>
                  </a:lnTo>
                  <a:lnTo>
                    <a:pt x="2573" y="897"/>
                  </a:lnTo>
                  <a:lnTo>
                    <a:pt x="2553" y="883"/>
                  </a:lnTo>
                  <a:lnTo>
                    <a:pt x="2525" y="869"/>
                  </a:lnTo>
                  <a:lnTo>
                    <a:pt x="2511" y="883"/>
                  </a:lnTo>
                  <a:lnTo>
                    <a:pt x="2504" y="856"/>
                  </a:lnTo>
                  <a:lnTo>
                    <a:pt x="2504" y="835"/>
                  </a:lnTo>
                  <a:lnTo>
                    <a:pt x="2490" y="835"/>
                  </a:lnTo>
                  <a:lnTo>
                    <a:pt x="2476" y="828"/>
                  </a:lnTo>
                  <a:lnTo>
                    <a:pt x="2462" y="821"/>
                  </a:lnTo>
                  <a:lnTo>
                    <a:pt x="2441" y="793"/>
                  </a:lnTo>
                  <a:lnTo>
                    <a:pt x="2483" y="751"/>
                  </a:lnTo>
                  <a:lnTo>
                    <a:pt x="2441" y="737"/>
                  </a:lnTo>
                  <a:lnTo>
                    <a:pt x="2386" y="786"/>
                  </a:lnTo>
                  <a:lnTo>
                    <a:pt x="2365" y="758"/>
                  </a:lnTo>
                  <a:lnTo>
                    <a:pt x="2351" y="737"/>
                  </a:lnTo>
                  <a:lnTo>
                    <a:pt x="2330" y="751"/>
                  </a:lnTo>
                  <a:lnTo>
                    <a:pt x="2323" y="737"/>
                  </a:lnTo>
                  <a:lnTo>
                    <a:pt x="2254" y="751"/>
                  </a:lnTo>
                  <a:lnTo>
                    <a:pt x="2247" y="737"/>
                  </a:lnTo>
                  <a:lnTo>
                    <a:pt x="2281" y="730"/>
                  </a:lnTo>
                  <a:lnTo>
                    <a:pt x="2254" y="723"/>
                  </a:lnTo>
                  <a:lnTo>
                    <a:pt x="2309" y="716"/>
                  </a:lnTo>
                  <a:lnTo>
                    <a:pt x="2323" y="723"/>
                  </a:lnTo>
                  <a:lnTo>
                    <a:pt x="2365" y="723"/>
                  </a:lnTo>
                  <a:lnTo>
                    <a:pt x="2365" y="689"/>
                  </a:lnTo>
                  <a:lnTo>
                    <a:pt x="2365" y="682"/>
                  </a:lnTo>
                  <a:lnTo>
                    <a:pt x="2379" y="661"/>
                  </a:lnTo>
                  <a:lnTo>
                    <a:pt x="2393" y="640"/>
                  </a:lnTo>
                  <a:lnTo>
                    <a:pt x="2386" y="626"/>
                  </a:lnTo>
                  <a:lnTo>
                    <a:pt x="2393" y="591"/>
                  </a:lnTo>
                  <a:lnTo>
                    <a:pt x="2414" y="584"/>
                  </a:lnTo>
                  <a:lnTo>
                    <a:pt x="2441" y="563"/>
                  </a:lnTo>
                  <a:lnTo>
                    <a:pt x="2455" y="570"/>
                  </a:lnTo>
                  <a:lnTo>
                    <a:pt x="2483" y="591"/>
                  </a:lnTo>
                  <a:lnTo>
                    <a:pt x="2504" y="591"/>
                  </a:lnTo>
                  <a:lnTo>
                    <a:pt x="2518" y="570"/>
                  </a:lnTo>
                  <a:lnTo>
                    <a:pt x="2483" y="563"/>
                  </a:lnTo>
                  <a:lnTo>
                    <a:pt x="2448" y="550"/>
                  </a:lnTo>
                  <a:lnTo>
                    <a:pt x="2406" y="522"/>
                  </a:lnTo>
                  <a:lnTo>
                    <a:pt x="2379" y="535"/>
                  </a:lnTo>
                  <a:lnTo>
                    <a:pt x="2365" y="556"/>
                  </a:lnTo>
                  <a:lnTo>
                    <a:pt x="2351" y="550"/>
                  </a:lnTo>
                  <a:lnTo>
                    <a:pt x="2344" y="556"/>
                  </a:lnTo>
                  <a:lnTo>
                    <a:pt x="2351" y="522"/>
                  </a:lnTo>
                  <a:lnTo>
                    <a:pt x="2351" y="501"/>
                  </a:lnTo>
                  <a:lnTo>
                    <a:pt x="2344" y="487"/>
                  </a:lnTo>
                  <a:lnTo>
                    <a:pt x="2316" y="501"/>
                  </a:lnTo>
                  <a:lnTo>
                    <a:pt x="2288" y="508"/>
                  </a:lnTo>
                  <a:lnTo>
                    <a:pt x="2288" y="522"/>
                  </a:lnTo>
                  <a:lnTo>
                    <a:pt x="2281" y="550"/>
                  </a:lnTo>
                  <a:lnTo>
                    <a:pt x="2260" y="535"/>
                  </a:lnTo>
                  <a:lnTo>
                    <a:pt x="2274" y="508"/>
                  </a:lnTo>
                  <a:lnTo>
                    <a:pt x="2288" y="452"/>
                  </a:lnTo>
                  <a:lnTo>
                    <a:pt x="2295" y="438"/>
                  </a:lnTo>
                  <a:lnTo>
                    <a:pt x="2309" y="424"/>
                  </a:lnTo>
                  <a:lnTo>
                    <a:pt x="2295" y="403"/>
                  </a:lnTo>
                  <a:lnTo>
                    <a:pt x="2323" y="375"/>
                  </a:lnTo>
                  <a:lnTo>
                    <a:pt x="2330" y="389"/>
                  </a:lnTo>
                  <a:lnTo>
                    <a:pt x="2358" y="355"/>
                  </a:lnTo>
                  <a:lnTo>
                    <a:pt x="2358" y="341"/>
                  </a:lnTo>
                  <a:lnTo>
                    <a:pt x="2351" y="306"/>
                  </a:lnTo>
                  <a:lnTo>
                    <a:pt x="2316" y="306"/>
                  </a:lnTo>
                  <a:lnTo>
                    <a:pt x="2316" y="271"/>
                  </a:lnTo>
                  <a:lnTo>
                    <a:pt x="2295" y="264"/>
                  </a:lnTo>
                  <a:lnTo>
                    <a:pt x="2309" y="257"/>
                  </a:lnTo>
                  <a:lnTo>
                    <a:pt x="2295" y="236"/>
                  </a:lnTo>
                  <a:lnTo>
                    <a:pt x="2281" y="223"/>
                  </a:lnTo>
                  <a:lnTo>
                    <a:pt x="2274" y="236"/>
                  </a:lnTo>
                  <a:lnTo>
                    <a:pt x="2274" y="257"/>
                  </a:lnTo>
                  <a:lnTo>
                    <a:pt x="2233" y="257"/>
                  </a:lnTo>
                  <a:lnTo>
                    <a:pt x="2219" y="257"/>
                  </a:lnTo>
                  <a:lnTo>
                    <a:pt x="2191" y="264"/>
                  </a:lnTo>
                  <a:lnTo>
                    <a:pt x="2198" y="278"/>
                  </a:lnTo>
                  <a:lnTo>
                    <a:pt x="2191" y="292"/>
                  </a:lnTo>
                  <a:lnTo>
                    <a:pt x="2163" y="341"/>
                  </a:lnTo>
                  <a:lnTo>
                    <a:pt x="2149" y="355"/>
                  </a:lnTo>
                  <a:lnTo>
                    <a:pt x="2135" y="271"/>
                  </a:lnTo>
                  <a:lnTo>
                    <a:pt x="2149" y="271"/>
                  </a:lnTo>
                  <a:lnTo>
                    <a:pt x="2135" y="243"/>
                  </a:lnTo>
                  <a:lnTo>
                    <a:pt x="2121" y="229"/>
                  </a:lnTo>
                  <a:lnTo>
                    <a:pt x="2087" y="223"/>
                  </a:lnTo>
                  <a:lnTo>
                    <a:pt x="2100" y="208"/>
                  </a:lnTo>
                  <a:lnTo>
                    <a:pt x="2121" y="181"/>
                  </a:lnTo>
                  <a:lnTo>
                    <a:pt x="2093" y="174"/>
                  </a:lnTo>
                  <a:lnTo>
                    <a:pt x="2066" y="174"/>
                  </a:lnTo>
                  <a:lnTo>
                    <a:pt x="2059" y="160"/>
                  </a:lnTo>
                  <a:lnTo>
                    <a:pt x="2045" y="167"/>
                  </a:lnTo>
                  <a:lnTo>
                    <a:pt x="2024" y="125"/>
                  </a:lnTo>
                  <a:lnTo>
                    <a:pt x="1996" y="111"/>
                  </a:lnTo>
                  <a:lnTo>
                    <a:pt x="1968" y="132"/>
                  </a:lnTo>
                  <a:lnTo>
                    <a:pt x="1982" y="146"/>
                  </a:lnTo>
                  <a:lnTo>
                    <a:pt x="1968" y="160"/>
                  </a:lnTo>
                  <a:lnTo>
                    <a:pt x="1947" y="132"/>
                  </a:lnTo>
                  <a:lnTo>
                    <a:pt x="1926" y="146"/>
                  </a:lnTo>
                  <a:lnTo>
                    <a:pt x="1899" y="139"/>
                  </a:lnTo>
                  <a:lnTo>
                    <a:pt x="1906" y="125"/>
                  </a:lnTo>
                  <a:lnTo>
                    <a:pt x="1899" y="97"/>
                  </a:lnTo>
                  <a:lnTo>
                    <a:pt x="1885" y="125"/>
                  </a:lnTo>
                  <a:lnTo>
                    <a:pt x="1899" y="160"/>
                  </a:lnTo>
                  <a:lnTo>
                    <a:pt x="1864" y="139"/>
                  </a:lnTo>
                  <a:lnTo>
                    <a:pt x="1885" y="97"/>
                  </a:lnTo>
                  <a:lnTo>
                    <a:pt x="1871" y="49"/>
                  </a:lnTo>
                  <a:lnTo>
                    <a:pt x="1822" y="28"/>
                  </a:lnTo>
                  <a:lnTo>
                    <a:pt x="1815" y="0"/>
                  </a:lnTo>
                  <a:lnTo>
                    <a:pt x="1766" y="14"/>
                  </a:lnTo>
                  <a:lnTo>
                    <a:pt x="1739" y="42"/>
                  </a:lnTo>
                  <a:lnTo>
                    <a:pt x="1739" y="35"/>
                  </a:lnTo>
                  <a:lnTo>
                    <a:pt x="1725" y="28"/>
                  </a:lnTo>
                  <a:lnTo>
                    <a:pt x="1697" y="42"/>
                  </a:lnTo>
                  <a:lnTo>
                    <a:pt x="1676" y="42"/>
                  </a:lnTo>
                  <a:lnTo>
                    <a:pt x="1662" y="35"/>
                  </a:lnTo>
                  <a:lnTo>
                    <a:pt x="1655" y="42"/>
                  </a:lnTo>
                  <a:lnTo>
                    <a:pt x="1669" y="49"/>
                  </a:lnTo>
                  <a:lnTo>
                    <a:pt x="1697" y="62"/>
                  </a:lnTo>
                  <a:lnTo>
                    <a:pt x="1676" y="125"/>
                  </a:lnTo>
                  <a:lnTo>
                    <a:pt x="1690" y="160"/>
                  </a:lnTo>
                  <a:lnTo>
                    <a:pt x="1704" y="174"/>
                  </a:lnTo>
                  <a:lnTo>
                    <a:pt x="1690" y="208"/>
                  </a:lnTo>
                  <a:lnTo>
                    <a:pt x="1634" y="229"/>
                  </a:lnTo>
                  <a:lnTo>
                    <a:pt x="1620" y="236"/>
                  </a:lnTo>
                  <a:lnTo>
                    <a:pt x="1607" y="264"/>
                  </a:lnTo>
                  <a:lnTo>
                    <a:pt x="1530" y="292"/>
                  </a:lnTo>
                  <a:lnTo>
                    <a:pt x="1509" y="264"/>
                  </a:lnTo>
                  <a:lnTo>
                    <a:pt x="1460" y="292"/>
                  </a:lnTo>
                  <a:lnTo>
                    <a:pt x="1426" y="334"/>
                  </a:lnTo>
                  <a:lnTo>
                    <a:pt x="1391" y="369"/>
                  </a:lnTo>
                  <a:lnTo>
                    <a:pt x="1328" y="452"/>
                  </a:lnTo>
                  <a:lnTo>
                    <a:pt x="1293" y="487"/>
                  </a:lnTo>
                  <a:lnTo>
                    <a:pt x="1238" y="501"/>
                  </a:lnTo>
                  <a:lnTo>
                    <a:pt x="1238" y="508"/>
                  </a:lnTo>
                  <a:lnTo>
                    <a:pt x="1231" y="529"/>
                  </a:lnTo>
                  <a:lnTo>
                    <a:pt x="1217" y="535"/>
                  </a:lnTo>
                  <a:lnTo>
                    <a:pt x="1203" y="591"/>
                  </a:lnTo>
                  <a:lnTo>
                    <a:pt x="1099" y="716"/>
                  </a:lnTo>
                  <a:lnTo>
                    <a:pt x="1050" y="751"/>
                  </a:lnTo>
                  <a:lnTo>
                    <a:pt x="946" y="751"/>
                  </a:lnTo>
                  <a:lnTo>
                    <a:pt x="939" y="751"/>
                  </a:lnTo>
                  <a:lnTo>
                    <a:pt x="813" y="828"/>
                  </a:lnTo>
                  <a:lnTo>
                    <a:pt x="807" y="856"/>
                  </a:lnTo>
                  <a:lnTo>
                    <a:pt x="716" y="925"/>
                  </a:lnTo>
                  <a:lnTo>
                    <a:pt x="549" y="960"/>
                  </a:lnTo>
                  <a:lnTo>
                    <a:pt x="528" y="960"/>
                  </a:lnTo>
                  <a:lnTo>
                    <a:pt x="473" y="918"/>
                  </a:lnTo>
                  <a:lnTo>
                    <a:pt x="424" y="918"/>
                  </a:lnTo>
                  <a:lnTo>
                    <a:pt x="292" y="911"/>
                  </a:lnTo>
                  <a:lnTo>
                    <a:pt x="167" y="779"/>
                  </a:lnTo>
                  <a:lnTo>
                    <a:pt x="153" y="702"/>
                  </a:lnTo>
                  <a:lnTo>
                    <a:pt x="167" y="668"/>
                  </a:lnTo>
                  <a:lnTo>
                    <a:pt x="118" y="633"/>
                  </a:lnTo>
                  <a:lnTo>
                    <a:pt x="104" y="633"/>
                  </a:lnTo>
                  <a:lnTo>
                    <a:pt x="69" y="716"/>
                  </a:lnTo>
                  <a:lnTo>
                    <a:pt x="90" y="737"/>
                  </a:lnTo>
                  <a:lnTo>
                    <a:pt x="132" y="793"/>
                  </a:lnTo>
                  <a:lnTo>
                    <a:pt x="132" y="828"/>
                  </a:lnTo>
                  <a:lnTo>
                    <a:pt x="97" y="925"/>
                  </a:lnTo>
                  <a:lnTo>
                    <a:pt x="69" y="981"/>
                  </a:lnTo>
                  <a:lnTo>
                    <a:pt x="69" y="988"/>
                  </a:lnTo>
                  <a:lnTo>
                    <a:pt x="48" y="1023"/>
                  </a:lnTo>
                  <a:lnTo>
                    <a:pt x="34" y="1092"/>
                  </a:lnTo>
                  <a:lnTo>
                    <a:pt x="20" y="1120"/>
                  </a:lnTo>
                  <a:lnTo>
                    <a:pt x="0" y="1155"/>
                  </a:lnTo>
                  <a:lnTo>
                    <a:pt x="62" y="1224"/>
                  </a:lnTo>
                  <a:lnTo>
                    <a:pt x="118" y="1259"/>
                  </a:lnTo>
                  <a:lnTo>
                    <a:pt x="104" y="1280"/>
                  </a:lnTo>
                  <a:lnTo>
                    <a:pt x="69" y="1356"/>
                  </a:lnTo>
                  <a:lnTo>
                    <a:pt x="48" y="1377"/>
                  </a:lnTo>
                  <a:lnTo>
                    <a:pt x="13" y="1391"/>
                  </a:lnTo>
                  <a:lnTo>
                    <a:pt x="34" y="1488"/>
                  </a:lnTo>
                  <a:lnTo>
                    <a:pt x="48" y="1516"/>
                  </a:lnTo>
                  <a:lnTo>
                    <a:pt x="55" y="1475"/>
                  </a:lnTo>
                  <a:lnTo>
                    <a:pt x="62" y="1454"/>
                  </a:lnTo>
                  <a:lnTo>
                    <a:pt x="90" y="1419"/>
                  </a:lnTo>
                  <a:lnTo>
                    <a:pt x="97" y="1405"/>
                  </a:lnTo>
                  <a:lnTo>
                    <a:pt x="132" y="1440"/>
                  </a:lnTo>
                  <a:lnTo>
                    <a:pt x="125" y="1454"/>
                  </a:lnTo>
                  <a:lnTo>
                    <a:pt x="118" y="1461"/>
                  </a:lnTo>
                  <a:lnTo>
                    <a:pt x="104" y="1509"/>
                  </a:lnTo>
                  <a:lnTo>
                    <a:pt x="180" y="1502"/>
                  </a:lnTo>
                  <a:lnTo>
                    <a:pt x="194" y="1475"/>
                  </a:lnTo>
                  <a:lnTo>
                    <a:pt x="215" y="1475"/>
                  </a:lnTo>
                  <a:lnTo>
                    <a:pt x="243" y="1454"/>
                  </a:lnTo>
                  <a:lnTo>
                    <a:pt x="278" y="1461"/>
                  </a:lnTo>
                  <a:lnTo>
                    <a:pt x="285" y="1523"/>
                  </a:lnTo>
                  <a:lnTo>
                    <a:pt x="299" y="1544"/>
                  </a:lnTo>
                  <a:lnTo>
                    <a:pt x="333" y="1655"/>
                  </a:lnTo>
                  <a:lnTo>
                    <a:pt x="361" y="1655"/>
                  </a:lnTo>
                  <a:lnTo>
                    <a:pt x="382" y="1676"/>
                  </a:lnTo>
                  <a:lnTo>
                    <a:pt x="410" y="1732"/>
                  </a:lnTo>
                  <a:lnTo>
                    <a:pt x="431" y="1864"/>
                  </a:lnTo>
                  <a:lnTo>
                    <a:pt x="396" y="1969"/>
                  </a:lnTo>
                  <a:lnTo>
                    <a:pt x="410" y="2003"/>
                  </a:lnTo>
                  <a:lnTo>
                    <a:pt x="473" y="2010"/>
                  </a:lnTo>
                  <a:lnTo>
                    <a:pt x="494" y="2045"/>
                  </a:lnTo>
                  <a:lnTo>
                    <a:pt x="521" y="2059"/>
                  </a:lnTo>
                  <a:lnTo>
                    <a:pt x="556" y="2128"/>
                  </a:lnTo>
                  <a:lnTo>
                    <a:pt x="563" y="2163"/>
                  </a:lnTo>
                  <a:lnTo>
                    <a:pt x="556" y="219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4" name="Freeform 43"/>
            <p:cNvSpPr>
              <a:spLocks noChangeArrowheads="1"/>
            </p:cNvSpPr>
            <p:nvPr/>
          </p:nvSpPr>
          <p:spPr bwMode="auto">
            <a:xfrm>
              <a:off x="14279419" y="8675169"/>
              <a:ext cx="107698" cy="134632"/>
            </a:xfrm>
            <a:custGeom>
              <a:avLst/>
              <a:gdLst>
                <a:gd name="T0" fmla="*/ 160 w 230"/>
                <a:gd name="T1" fmla="*/ 21 h 286"/>
                <a:gd name="T2" fmla="*/ 174 w 230"/>
                <a:gd name="T3" fmla="*/ 0 h 286"/>
                <a:gd name="T4" fmla="*/ 188 w 230"/>
                <a:gd name="T5" fmla="*/ 21 h 286"/>
                <a:gd name="T6" fmla="*/ 202 w 230"/>
                <a:gd name="T7" fmla="*/ 35 h 286"/>
                <a:gd name="T8" fmla="*/ 222 w 230"/>
                <a:gd name="T9" fmla="*/ 63 h 286"/>
                <a:gd name="T10" fmla="*/ 229 w 230"/>
                <a:gd name="T11" fmla="*/ 63 h 286"/>
                <a:gd name="T12" fmla="*/ 202 w 230"/>
                <a:gd name="T13" fmla="*/ 90 h 286"/>
                <a:gd name="T14" fmla="*/ 202 w 230"/>
                <a:gd name="T15" fmla="*/ 125 h 286"/>
                <a:gd name="T16" fmla="*/ 194 w 230"/>
                <a:gd name="T17" fmla="*/ 146 h 286"/>
                <a:gd name="T18" fmla="*/ 118 w 230"/>
                <a:gd name="T19" fmla="*/ 118 h 286"/>
                <a:gd name="T20" fmla="*/ 90 w 230"/>
                <a:gd name="T21" fmla="*/ 132 h 286"/>
                <a:gd name="T22" fmla="*/ 76 w 230"/>
                <a:gd name="T23" fmla="*/ 146 h 286"/>
                <a:gd name="T24" fmla="*/ 90 w 230"/>
                <a:gd name="T25" fmla="*/ 160 h 286"/>
                <a:gd name="T26" fmla="*/ 42 w 230"/>
                <a:gd name="T27" fmla="*/ 202 h 286"/>
                <a:gd name="T28" fmla="*/ 62 w 230"/>
                <a:gd name="T29" fmla="*/ 202 h 286"/>
                <a:gd name="T30" fmla="*/ 69 w 230"/>
                <a:gd name="T31" fmla="*/ 244 h 286"/>
                <a:gd name="T32" fmla="*/ 76 w 230"/>
                <a:gd name="T33" fmla="*/ 278 h 286"/>
                <a:gd name="T34" fmla="*/ 55 w 230"/>
                <a:gd name="T35" fmla="*/ 285 h 286"/>
                <a:gd name="T36" fmla="*/ 0 w 230"/>
                <a:gd name="T37" fmla="*/ 278 h 286"/>
                <a:gd name="T38" fmla="*/ 0 w 230"/>
                <a:gd name="T39" fmla="*/ 257 h 286"/>
                <a:gd name="T40" fmla="*/ 7 w 230"/>
                <a:gd name="T41" fmla="*/ 229 h 286"/>
                <a:gd name="T42" fmla="*/ 21 w 230"/>
                <a:gd name="T43" fmla="*/ 202 h 286"/>
                <a:gd name="T44" fmla="*/ 7 w 230"/>
                <a:gd name="T45" fmla="*/ 195 h 286"/>
                <a:gd name="T46" fmla="*/ 21 w 230"/>
                <a:gd name="T47" fmla="*/ 160 h 286"/>
                <a:gd name="T48" fmla="*/ 62 w 230"/>
                <a:gd name="T49" fmla="*/ 146 h 286"/>
                <a:gd name="T50" fmla="*/ 97 w 230"/>
                <a:gd name="T51" fmla="*/ 97 h 286"/>
                <a:gd name="T52" fmla="*/ 118 w 230"/>
                <a:gd name="T53" fmla="*/ 83 h 286"/>
                <a:gd name="T54" fmla="*/ 104 w 230"/>
                <a:gd name="T55" fmla="*/ 28 h 286"/>
                <a:gd name="T56" fmla="*/ 160 w 230"/>
                <a:gd name="T57" fmla="*/ 21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286">
                  <a:moveTo>
                    <a:pt x="160" y="21"/>
                  </a:moveTo>
                  <a:lnTo>
                    <a:pt x="174" y="0"/>
                  </a:lnTo>
                  <a:lnTo>
                    <a:pt x="188" y="21"/>
                  </a:lnTo>
                  <a:lnTo>
                    <a:pt x="202" y="35"/>
                  </a:lnTo>
                  <a:lnTo>
                    <a:pt x="222" y="63"/>
                  </a:lnTo>
                  <a:lnTo>
                    <a:pt x="229" y="63"/>
                  </a:lnTo>
                  <a:lnTo>
                    <a:pt x="202" y="90"/>
                  </a:lnTo>
                  <a:lnTo>
                    <a:pt x="202" y="125"/>
                  </a:lnTo>
                  <a:lnTo>
                    <a:pt x="194" y="146"/>
                  </a:lnTo>
                  <a:lnTo>
                    <a:pt x="118" y="118"/>
                  </a:lnTo>
                  <a:lnTo>
                    <a:pt x="90" y="132"/>
                  </a:lnTo>
                  <a:lnTo>
                    <a:pt x="76" y="146"/>
                  </a:lnTo>
                  <a:lnTo>
                    <a:pt x="90" y="160"/>
                  </a:lnTo>
                  <a:lnTo>
                    <a:pt x="42" y="202"/>
                  </a:lnTo>
                  <a:lnTo>
                    <a:pt x="62" y="202"/>
                  </a:lnTo>
                  <a:lnTo>
                    <a:pt x="69" y="244"/>
                  </a:lnTo>
                  <a:lnTo>
                    <a:pt x="76" y="278"/>
                  </a:lnTo>
                  <a:lnTo>
                    <a:pt x="55" y="285"/>
                  </a:lnTo>
                  <a:lnTo>
                    <a:pt x="0" y="278"/>
                  </a:lnTo>
                  <a:lnTo>
                    <a:pt x="0" y="257"/>
                  </a:lnTo>
                  <a:lnTo>
                    <a:pt x="7" y="229"/>
                  </a:lnTo>
                  <a:lnTo>
                    <a:pt x="21" y="202"/>
                  </a:lnTo>
                  <a:lnTo>
                    <a:pt x="7" y="195"/>
                  </a:lnTo>
                  <a:lnTo>
                    <a:pt x="21" y="160"/>
                  </a:lnTo>
                  <a:lnTo>
                    <a:pt x="62" y="146"/>
                  </a:lnTo>
                  <a:lnTo>
                    <a:pt x="97" y="97"/>
                  </a:lnTo>
                  <a:lnTo>
                    <a:pt x="118" y="83"/>
                  </a:lnTo>
                  <a:lnTo>
                    <a:pt x="104" y="28"/>
                  </a:lnTo>
                  <a:lnTo>
                    <a:pt x="16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5" name="Freeform 44"/>
            <p:cNvSpPr>
              <a:spLocks noChangeArrowheads="1"/>
            </p:cNvSpPr>
            <p:nvPr/>
          </p:nvSpPr>
          <p:spPr bwMode="auto">
            <a:xfrm>
              <a:off x="14289776" y="10661494"/>
              <a:ext cx="68346" cy="95277"/>
            </a:xfrm>
            <a:custGeom>
              <a:avLst/>
              <a:gdLst>
                <a:gd name="T0" fmla="*/ 14 w 147"/>
                <a:gd name="T1" fmla="*/ 56 h 203"/>
                <a:gd name="T2" fmla="*/ 34 w 147"/>
                <a:gd name="T3" fmla="*/ 42 h 203"/>
                <a:gd name="T4" fmla="*/ 69 w 147"/>
                <a:gd name="T5" fmla="*/ 21 h 203"/>
                <a:gd name="T6" fmla="*/ 132 w 147"/>
                <a:gd name="T7" fmla="*/ 7 h 203"/>
                <a:gd name="T8" fmla="*/ 139 w 147"/>
                <a:gd name="T9" fmla="*/ 0 h 203"/>
                <a:gd name="T10" fmla="*/ 146 w 147"/>
                <a:gd name="T11" fmla="*/ 105 h 203"/>
                <a:gd name="T12" fmla="*/ 132 w 147"/>
                <a:gd name="T13" fmla="*/ 195 h 203"/>
                <a:gd name="T14" fmla="*/ 104 w 147"/>
                <a:gd name="T15" fmla="*/ 202 h 203"/>
                <a:gd name="T16" fmla="*/ 83 w 147"/>
                <a:gd name="T17" fmla="*/ 195 h 203"/>
                <a:gd name="T18" fmla="*/ 41 w 147"/>
                <a:gd name="T19" fmla="*/ 167 h 203"/>
                <a:gd name="T20" fmla="*/ 48 w 147"/>
                <a:gd name="T21" fmla="*/ 153 h 203"/>
                <a:gd name="T22" fmla="*/ 41 w 147"/>
                <a:gd name="T23" fmla="*/ 140 h 203"/>
                <a:gd name="T24" fmla="*/ 41 w 147"/>
                <a:gd name="T25" fmla="*/ 119 h 203"/>
                <a:gd name="T26" fmla="*/ 7 w 147"/>
                <a:gd name="T27" fmla="*/ 105 h 203"/>
                <a:gd name="T28" fmla="*/ 0 w 147"/>
                <a:gd name="T29" fmla="*/ 84 h 203"/>
                <a:gd name="T30" fmla="*/ 14 w 147"/>
                <a:gd name="T31" fmla="*/ 5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203">
                  <a:moveTo>
                    <a:pt x="14" y="56"/>
                  </a:moveTo>
                  <a:lnTo>
                    <a:pt x="34" y="42"/>
                  </a:lnTo>
                  <a:lnTo>
                    <a:pt x="69" y="21"/>
                  </a:lnTo>
                  <a:lnTo>
                    <a:pt x="132" y="7"/>
                  </a:lnTo>
                  <a:lnTo>
                    <a:pt x="139" y="0"/>
                  </a:lnTo>
                  <a:lnTo>
                    <a:pt x="146" y="105"/>
                  </a:lnTo>
                  <a:lnTo>
                    <a:pt x="132" y="195"/>
                  </a:lnTo>
                  <a:lnTo>
                    <a:pt x="104" y="202"/>
                  </a:lnTo>
                  <a:lnTo>
                    <a:pt x="83" y="195"/>
                  </a:lnTo>
                  <a:lnTo>
                    <a:pt x="41" y="167"/>
                  </a:lnTo>
                  <a:lnTo>
                    <a:pt x="48" y="153"/>
                  </a:lnTo>
                  <a:lnTo>
                    <a:pt x="41" y="140"/>
                  </a:lnTo>
                  <a:lnTo>
                    <a:pt x="41" y="119"/>
                  </a:lnTo>
                  <a:lnTo>
                    <a:pt x="7" y="105"/>
                  </a:lnTo>
                  <a:lnTo>
                    <a:pt x="0" y="84"/>
                  </a:lnTo>
                  <a:lnTo>
                    <a:pt x="14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6" name="Freeform 45"/>
            <p:cNvSpPr>
              <a:spLocks noChangeArrowheads="1"/>
            </p:cNvSpPr>
            <p:nvPr/>
          </p:nvSpPr>
          <p:spPr bwMode="auto">
            <a:xfrm>
              <a:off x="15182423" y="8521897"/>
              <a:ext cx="84916" cy="101492"/>
            </a:xfrm>
            <a:custGeom>
              <a:avLst/>
              <a:gdLst>
                <a:gd name="T0" fmla="*/ 90 w 182"/>
                <a:gd name="T1" fmla="*/ 188 h 217"/>
                <a:gd name="T2" fmla="*/ 104 w 182"/>
                <a:gd name="T3" fmla="*/ 167 h 217"/>
                <a:gd name="T4" fmla="*/ 118 w 182"/>
                <a:gd name="T5" fmla="*/ 146 h 217"/>
                <a:gd name="T6" fmla="*/ 132 w 182"/>
                <a:gd name="T7" fmla="*/ 146 h 217"/>
                <a:gd name="T8" fmla="*/ 104 w 182"/>
                <a:gd name="T9" fmla="*/ 118 h 217"/>
                <a:gd name="T10" fmla="*/ 14 w 182"/>
                <a:gd name="T11" fmla="*/ 118 h 217"/>
                <a:gd name="T12" fmla="*/ 0 w 182"/>
                <a:gd name="T13" fmla="*/ 90 h 217"/>
                <a:gd name="T14" fmla="*/ 7 w 182"/>
                <a:gd name="T15" fmla="*/ 70 h 217"/>
                <a:gd name="T16" fmla="*/ 21 w 182"/>
                <a:gd name="T17" fmla="*/ 63 h 217"/>
                <a:gd name="T18" fmla="*/ 42 w 182"/>
                <a:gd name="T19" fmla="*/ 28 h 217"/>
                <a:gd name="T20" fmla="*/ 42 w 182"/>
                <a:gd name="T21" fmla="*/ 14 h 217"/>
                <a:gd name="T22" fmla="*/ 55 w 182"/>
                <a:gd name="T23" fmla="*/ 28 h 217"/>
                <a:gd name="T24" fmla="*/ 69 w 182"/>
                <a:gd name="T25" fmla="*/ 0 h 217"/>
                <a:gd name="T26" fmla="*/ 83 w 182"/>
                <a:gd name="T27" fmla="*/ 21 h 217"/>
                <a:gd name="T28" fmla="*/ 90 w 182"/>
                <a:gd name="T29" fmla="*/ 35 h 217"/>
                <a:gd name="T30" fmla="*/ 90 w 182"/>
                <a:gd name="T31" fmla="*/ 90 h 217"/>
                <a:gd name="T32" fmla="*/ 111 w 182"/>
                <a:gd name="T33" fmla="*/ 70 h 217"/>
                <a:gd name="T34" fmla="*/ 104 w 182"/>
                <a:gd name="T35" fmla="*/ 111 h 217"/>
                <a:gd name="T36" fmla="*/ 118 w 182"/>
                <a:gd name="T37" fmla="*/ 97 h 217"/>
                <a:gd name="T38" fmla="*/ 132 w 182"/>
                <a:gd name="T39" fmla="*/ 97 h 217"/>
                <a:gd name="T40" fmla="*/ 146 w 182"/>
                <a:gd name="T41" fmla="*/ 56 h 217"/>
                <a:gd name="T42" fmla="*/ 174 w 182"/>
                <a:gd name="T43" fmla="*/ 70 h 217"/>
                <a:gd name="T44" fmla="*/ 181 w 182"/>
                <a:gd name="T45" fmla="*/ 97 h 217"/>
                <a:gd name="T46" fmla="*/ 167 w 182"/>
                <a:gd name="T47" fmla="*/ 132 h 217"/>
                <a:gd name="T48" fmla="*/ 153 w 182"/>
                <a:gd name="T49" fmla="*/ 181 h 217"/>
                <a:gd name="T50" fmla="*/ 174 w 182"/>
                <a:gd name="T51" fmla="*/ 188 h 217"/>
                <a:gd name="T52" fmla="*/ 153 w 182"/>
                <a:gd name="T53" fmla="*/ 216 h 217"/>
                <a:gd name="T54" fmla="*/ 139 w 182"/>
                <a:gd name="T55" fmla="*/ 188 h 217"/>
                <a:gd name="T56" fmla="*/ 132 w 182"/>
                <a:gd name="T57" fmla="*/ 181 h 217"/>
                <a:gd name="T58" fmla="*/ 118 w 182"/>
                <a:gd name="T59" fmla="*/ 167 h 217"/>
                <a:gd name="T60" fmla="*/ 90 w 182"/>
                <a:gd name="T61" fmla="*/ 18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2" h="217">
                  <a:moveTo>
                    <a:pt x="90" y="188"/>
                  </a:moveTo>
                  <a:lnTo>
                    <a:pt x="104" y="167"/>
                  </a:lnTo>
                  <a:lnTo>
                    <a:pt x="118" y="146"/>
                  </a:lnTo>
                  <a:lnTo>
                    <a:pt x="132" y="146"/>
                  </a:lnTo>
                  <a:lnTo>
                    <a:pt x="104" y="118"/>
                  </a:lnTo>
                  <a:lnTo>
                    <a:pt x="14" y="118"/>
                  </a:lnTo>
                  <a:lnTo>
                    <a:pt x="0" y="90"/>
                  </a:lnTo>
                  <a:lnTo>
                    <a:pt x="7" y="70"/>
                  </a:lnTo>
                  <a:lnTo>
                    <a:pt x="21" y="63"/>
                  </a:lnTo>
                  <a:lnTo>
                    <a:pt x="42" y="28"/>
                  </a:lnTo>
                  <a:lnTo>
                    <a:pt x="42" y="14"/>
                  </a:lnTo>
                  <a:lnTo>
                    <a:pt x="55" y="28"/>
                  </a:lnTo>
                  <a:lnTo>
                    <a:pt x="69" y="0"/>
                  </a:lnTo>
                  <a:lnTo>
                    <a:pt x="83" y="21"/>
                  </a:lnTo>
                  <a:lnTo>
                    <a:pt x="90" y="35"/>
                  </a:lnTo>
                  <a:lnTo>
                    <a:pt x="90" y="90"/>
                  </a:lnTo>
                  <a:lnTo>
                    <a:pt x="111" y="70"/>
                  </a:lnTo>
                  <a:lnTo>
                    <a:pt x="104" y="111"/>
                  </a:lnTo>
                  <a:lnTo>
                    <a:pt x="118" y="97"/>
                  </a:lnTo>
                  <a:lnTo>
                    <a:pt x="132" y="97"/>
                  </a:lnTo>
                  <a:lnTo>
                    <a:pt x="146" y="56"/>
                  </a:lnTo>
                  <a:lnTo>
                    <a:pt x="174" y="70"/>
                  </a:lnTo>
                  <a:lnTo>
                    <a:pt x="181" y="97"/>
                  </a:lnTo>
                  <a:lnTo>
                    <a:pt x="167" y="132"/>
                  </a:lnTo>
                  <a:lnTo>
                    <a:pt x="153" y="181"/>
                  </a:lnTo>
                  <a:lnTo>
                    <a:pt x="174" y="188"/>
                  </a:lnTo>
                  <a:lnTo>
                    <a:pt x="153" y="216"/>
                  </a:lnTo>
                  <a:lnTo>
                    <a:pt x="139" y="188"/>
                  </a:lnTo>
                  <a:lnTo>
                    <a:pt x="132" y="181"/>
                  </a:lnTo>
                  <a:lnTo>
                    <a:pt x="118" y="167"/>
                  </a:lnTo>
                  <a:lnTo>
                    <a:pt x="90" y="18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7" name="Freeform 46"/>
            <p:cNvSpPr>
              <a:spLocks noChangeArrowheads="1"/>
            </p:cNvSpPr>
            <p:nvPr/>
          </p:nvSpPr>
          <p:spPr bwMode="auto">
            <a:xfrm>
              <a:off x="15414387" y="8874010"/>
              <a:ext cx="49707" cy="39354"/>
            </a:xfrm>
            <a:custGeom>
              <a:avLst/>
              <a:gdLst>
                <a:gd name="T0" fmla="*/ 21 w 105"/>
                <a:gd name="T1" fmla="*/ 84 h 85"/>
                <a:gd name="T2" fmla="*/ 104 w 105"/>
                <a:gd name="T3" fmla="*/ 28 h 85"/>
                <a:gd name="T4" fmla="*/ 97 w 105"/>
                <a:gd name="T5" fmla="*/ 21 h 85"/>
                <a:gd name="T6" fmla="*/ 97 w 105"/>
                <a:gd name="T7" fmla="*/ 0 h 85"/>
                <a:gd name="T8" fmla="*/ 0 w 105"/>
                <a:gd name="T9" fmla="*/ 70 h 85"/>
                <a:gd name="T10" fmla="*/ 21 w 105"/>
                <a:gd name="T11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85">
                  <a:moveTo>
                    <a:pt x="21" y="84"/>
                  </a:moveTo>
                  <a:lnTo>
                    <a:pt x="104" y="28"/>
                  </a:lnTo>
                  <a:lnTo>
                    <a:pt x="97" y="21"/>
                  </a:lnTo>
                  <a:lnTo>
                    <a:pt x="97" y="0"/>
                  </a:lnTo>
                  <a:lnTo>
                    <a:pt x="0" y="70"/>
                  </a:lnTo>
                  <a:lnTo>
                    <a:pt x="21" y="8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8" name="Freeform 47"/>
            <p:cNvSpPr>
              <a:spLocks noChangeArrowheads="1"/>
            </p:cNvSpPr>
            <p:nvPr/>
          </p:nvSpPr>
          <p:spPr bwMode="auto">
            <a:xfrm>
              <a:off x="15151358" y="8538468"/>
              <a:ext cx="10354" cy="22784"/>
            </a:xfrm>
            <a:custGeom>
              <a:avLst/>
              <a:gdLst>
                <a:gd name="T0" fmla="*/ 0 w 22"/>
                <a:gd name="T1" fmla="*/ 0 h 49"/>
                <a:gd name="T2" fmla="*/ 21 w 22"/>
                <a:gd name="T3" fmla="*/ 14 h 49"/>
                <a:gd name="T4" fmla="*/ 14 w 22"/>
                <a:gd name="T5" fmla="*/ 48 h 49"/>
                <a:gd name="T6" fmla="*/ 0 w 22"/>
                <a:gd name="T7" fmla="*/ 35 h 49"/>
                <a:gd name="T8" fmla="*/ 0 w 22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9">
                  <a:moveTo>
                    <a:pt x="0" y="0"/>
                  </a:moveTo>
                  <a:lnTo>
                    <a:pt x="21" y="14"/>
                  </a:lnTo>
                  <a:lnTo>
                    <a:pt x="14" y="48"/>
                  </a:ln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49" name="Freeform 48"/>
            <p:cNvSpPr>
              <a:spLocks noChangeArrowheads="1"/>
            </p:cNvSpPr>
            <p:nvPr/>
          </p:nvSpPr>
          <p:spPr bwMode="auto">
            <a:xfrm>
              <a:off x="15443384" y="8923719"/>
              <a:ext cx="20711" cy="16570"/>
            </a:xfrm>
            <a:custGeom>
              <a:avLst/>
              <a:gdLst>
                <a:gd name="T0" fmla="*/ 35 w 43"/>
                <a:gd name="T1" fmla="*/ 34 h 35"/>
                <a:gd name="T2" fmla="*/ 42 w 43"/>
                <a:gd name="T3" fmla="*/ 28 h 35"/>
                <a:gd name="T4" fmla="*/ 35 w 43"/>
                <a:gd name="T5" fmla="*/ 0 h 35"/>
                <a:gd name="T6" fmla="*/ 0 w 43"/>
                <a:gd name="T7" fmla="*/ 13 h 35"/>
                <a:gd name="T8" fmla="*/ 35 w 43"/>
                <a:gd name="T9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5">
                  <a:moveTo>
                    <a:pt x="35" y="34"/>
                  </a:moveTo>
                  <a:lnTo>
                    <a:pt x="42" y="28"/>
                  </a:lnTo>
                  <a:lnTo>
                    <a:pt x="35" y="0"/>
                  </a:lnTo>
                  <a:lnTo>
                    <a:pt x="0" y="13"/>
                  </a:lnTo>
                  <a:lnTo>
                    <a:pt x="35" y="3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0" name="Freeform 49"/>
            <p:cNvSpPr>
              <a:spLocks noChangeArrowheads="1"/>
            </p:cNvSpPr>
            <p:nvPr/>
          </p:nvSpPr>
          <p:spPr bwMode="auto">
            <a:xfrm>
              <a:off x="15198992" y="8584034"/>
              <a:ext cx="16569" cy="16570"/>
            </a:xfrm>
            <a:custGeom>
              <a:avLst/>
              <a:gdLst>
                <a:gd name="T0" fmla="*/ 20 w 35"/>
                <a:gd name="T1" fmla="*/ 35 h 36"/>
                <a:gd name="T2" fmla="*/ 34 w 35"/>
                <a:gd name="T3" fmla="*/ 0 h 36"/>
                <a:gd name="T4" fmla="*/ 0 w 35"/>
                <a:gd name="T5" fmla="*/ 28 h 36"/>
                <a:gd name="T6" fmla="*/ 13 w 35"/>
                <a:gd name="T7" fmla="*/ 35 h 36"/>
                <a:gd name="T8" fmla="*/ 20 w 35"/>
                <a:gd name="T9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20" y="35"/>
                  </a:moveTo>
                  <a:lnTo>
                    <a:pt x="34" y="0"/>
                  </a:lnTo>
                  <a:lnTo>
                    <a:pt x="0" y="28"/>
                  </a:lnTo>
                  <a:lnTo>
                    <a:pt x="13" y="35"/>
                  </a:lnTo>
                  <a:lnTo>
                    <a:pt x="20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1" name="Freeform 50"/>
            <p:cNvSpPr>
              <a:spLocks noChangeArrowheads="1"/>
            </p:cNvSpPr>
            <p:nvPr/>
          </p:nvSpPr>
          <p:spPr bwMode="auto">
            <a:xfrm>
              <a:off x="15167926" y="8486688"/>
              <a:ext cx="16569" cy="12427"/>
            </a:xfrm>
            <a:custGeom>
              <a:avLst/>
              <a:gdLst>
                <a:gd name="T0" fmla="*/ 0 w 36"/>
                <a:gd name="T1" fmla="*/ 14 h 28"/>
                <a:gd name="T2" fmla="*/ 35 w 36"/>
                <a:gd name="T3" fmla="*/ 0 h 28"/>
                <a:gd name="T4" fmla="*/ 28 w 36"/>
                <a:gd name="T5" fmla="*/ 14 h 28"/>
                <a:gd name="T6" fmla="*/ 7 w 36"/>
                <a:gd name="T7" fmla="*/ 27 h 28"/>
                <a:gd name="T8" fmla="*/ 0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0" y="14"/>
                  </a:moveTo>
                  <a:lnTo>
                    <a:pt x="35" y="0"/>
                  </a:lnTo>
                  <a:lnTo>
                    <a:pt x="28" y="14"/>
                  </a:lnTo>
                  <a:lnTo>
                    <a:pt x="7" y="27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2" name="Freeform 51"/>
            <p:cNvSpPr>
              <a:spLocks noChangeArrowheads="1"/>
            </p:cNvSpPr>
            <p:nvPr/>
          </p:nvSpPr>
          <p:spPr bwMode="auto">
            <a:xfrm>
              <a:off x="15145143" y="8482545"/>
              <a:ext cx="16569" cy="10356"/>
            </a:xfrm>
            <a:custGeom>
              <a:avLst/>
              <a:gdLst>
                <a:gd name="T0" fmla="*/ 0 w 36"/>
                <a:gd name="T1" fmla="*/ 6 h 21"/>
                <a:gd name="T2" fmla="*/ 21 w 36"/>
                <a:gd name="T3" fmla="*/ 0 h 21"/>
                <a:gd name="T4" fmla="*/ 35 w 36"/>
                <a:gd name="T5" fmla="*/ 20 h 21"/>
                <a:gd name="T6" fmla="*/ 21 w 36"/>
                <a:gd name="T7" fmla="*/ 14 h 21"/>
                <a:gd name="T8" fmla="*/ 0 w 36"/>
                <a:gd name="T9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1">
                  <a:moveTo>
                    <a:pt x="0" y="6"/>
                  </a:moveTo>
                  <a:lnTo>
                    <a:pt x="21" y="0"/>
                  </a:lnTo>
                  <a:lnTo>
                    <a:pt x="35" y="20"/>
                  </a:lnTo>
                  <a:lnTo>
                    <a:pt x="21" y="14"/>
                  </a:lnTo>
                  <a:lnTo>
                    <a:pt x="0" y="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3" name="Freeform 52"/>
            <p:cNvSpPr>
              <a:spLocks noChangeArrowheads="1"/>
            </p:cNvSpPr>
            <p:nvPr/>
          </p:nvSpPr>
          <p:spPr bwMode="auto">
            <a:xfrm>
              <a:off x="14476176" y="9915845"/>
              <a:ext cx="20711" cy="6213"/>
            </a:xfrm>
            <a:custGeom>
              <a:avLst/>
              <a:gdLst>
                <a:gd name="T0" fmla="*/ 14 w 43"/>
                <a:gd name="T1" fmla="*/ 7 h 15"/>
                <a:gd name="T2" fmla="*/ 35 w 43"/>
                <a:gd name="T3" fmla="*/ 0 h 15"/>
                <a:gd name="T4" fmla="*/ 42 w 43"/>
                <a:gd name="T5" fmla="*/ 7 h 15"/>
                <a:gd name="T6" fmla="*/ 21 w 43"/>
                <a:gd name="T7" fmla="*/ 14 h 15"/>
                <a:gd name="T8" fmla="*/ 0 w 43"/>
                <a:gd name="T9" fmla="*/ 14 h 15"/>
                <a:gd name="T10" fmla="*/ 14 w 43"/>
                <a:gd name="T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15">
                  <a:moveTo>
                    <a:pt x="14" y="7"/>
                  </a:moveTo>
                  <a:lnTo>
                    <a:pt x="35" y="0"/>
                  </a:lnTo>
                  <a:lnTo>
                    <a:pt x="42" y="7"/>
                  </a:lnTo>
                  <a:lnTo>
                    <a:pt x="21" y="14"/>
                  </a:lnTo>
                  <a:lnTo>
                    <a:pt x="0" y="14"/>
                  </a:lnTo>
                  <a:lnTo>
                    <a:pt x="14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4" name="Freeform 53"/>
            <p:cNvSpPr>
              <a:spLocks noChangeArrowheads="1"/>
            </p:cNvSpPr>
            <p:nvPr/>
          </p:nvSpPr>
          <p:spPr bwMode="auto">
            <a:xfrm>
              <a:off x="15151358" y="8501186"/>
              <a:ext cx="10354" cy="6214"/>
            </a:xfrm>
            <a:custGeom>
              <a:avLst/>
              <a:gdLst>
                <a:gd name="T0" fmla="*/ 0 w 22"/>
                <a:gd name="T1" fmla="*/ 7 h 15"/>
                <a:gd name="T2" fmla="*/ 21 w 22"/>
                <a:gd name="T3" fmla="*/ 0 h 15"/>
                <a:gd name="T4" fmla="*/ 14 w 22"/>
                <a:gd name="T5" fmla="*/ 14 h 15"/>
                <a:gd name="T6" fmla="*/ 0 w 22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0" y="7"/>
                  </a:moveTo>
                  <a:lnTo>
                    <a:pt x="21" y="0"/>
                  </a:lnTo>
                  <a:lnTo>
                    <a:pt x="14" y="14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5" name="Freeform 54"/>
            <p:cNvSpPr>
              <a:spLocks noChangeArrowheads="1"/>
            </p:cNvSpPr>
            <p:nvPr/>
          </p:nvSpPr>
          <p:spPr bwMode="auto">
            <a:xfrm>
              <a:off x="14351908" y="9828853"/>
              <a:ext cx="6213" cy="16570"/>
            </a:xfrm>
            <a:custGeom>
              <a:avLst/>
              <a:gdLst>
                <a:gd name="T0" fmla="*/ 0 w 15"/>
                <a:gd name="T1" fmla="*/ 20 h 35"/>
                <a:gd name="T2" fmla="*/ 14 w 15"/>
                <a:gd name="T3" fmla="*/ 0 h 35"/>
                <a:gd name="T4" fmla="*/ 0 w 15"/>
                <a:gd name="T5" fmla="*/ 34 h 35"/>
                <a:gd name="T6" fmla="*/ 0 w 15"/>
                <a:gd name="T7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5">
                  <a:moveTo>
                    <a:pt x="0" y="20"/>
                  </a:moveTo>
                  <a:lnTo>
                    <a:pt x="14" y="0"/>
                  </a:lnTo>
                  <a:lnTo>
                    <a:pt x="0" y="34"/>
                  </a:lnTo>
                  <a:lnTo>
                    <a:pt x="0" y="2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6" name="Freeform 55"/>
            <p:cNvSpPr>
              <a:spLocks noChangeArrowheads="1"/>
            </p:cNvSpPr>
            <p:nvPr/>
          </p:nvSpPr>
          <p:spPr bwMode="auto">
            <a:xfrm>
              <a:off x="15296336" y="10762985"/>
              <a:ext cx="10354" cy="6214"/>
            </a:xfrm>
            <a:custGeom>
              <a:avLst/>
              <a:gdLst>
                <a:gd name="T0" fmla="*/ 7 w 22"/>
                <a:gd name="T1" fmla="*/ 0 h 15"/>
                <a:gd name="T2" fmla="*/ 0 w 22"/>
                <a:gd name="T3" fmla="*/ 7 h 15"/>
                <a:gd name="T4" fmla="*/ 7 w 22"/>
                <a:gd name="T5" fmla="*/ 14 h 15"/>
                <a:gd name="T6" fmla="*/ 21 w 22"/>
                <a:gd name="T7" fmla="*/ 7 h 15"/>
                <a:gd name="T8" fmla="*/ 7 w 2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7" y="0"/>
                  </a:moveTo>
                  <a:lnTo>
                    <a:pt x="0" y="7"/>
                  </a:lnTo>
                  <a:lnTo>
                    <a:pt x="7" y="14"/>
                  </a:lnTo>
                  <a:lnTo>
                    <a:pt x="21" y="7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7" name="Freeform 56"/>
            <p:cNvSpPr>
              <a:spLocks noChangeArrowheads="1"/>
            </p:cNvSpPr>
            <p:nvPr/>
          </p:nvSpPr>
          <p:spPr bwMode="auto">
            <a:xfrm>
              <a:off x="14498958" y="10769199"/>
              <a:ext cx="6214" cy="10356"/>
            </a:xfrm>
            <a:custGeom>
              <a:avLst/>
              <a:gdLst>
                <a:gd name="T0" fmla="*/ 0 w 15"/>
                <a:gd name="T1" fmla="*/ 21 h 22"/>
                <a:gd name="T2" fmla="*/ 14 w 15"/>
                <a:gd name="T3" fmla="*/ 0 h 22"/>
                <a:gd name="T4" fmla="*/ 14 w 15"/>
                <a:gd name="T5" fmla="*/ 21 h 22"/>
                <a:gd name="T6" fmla="*/ 0 w 15"/>
                <a:gd name="T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2">
                  <a:moveTo>
                    <a:pt x="0" y="21"/>
                  </a:moveTo>
                  <a:lnTo>
                    <a:pt x="14" y="0"/>
                  </a:lnTo>
                  <a:lnTo>
                    <a:pt x="14" y="21"/>
                  </a:lnTo>
                  <a:lnTo>
                    <a:pt x="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8" name="Freeform 57"/>
            <p:cNvSpPr>
              <a:spLocks noChangeArrowheads="1"/>
            </p:cNvSpPr>
            <p:nvPr/>
          </p:nvSpPr>
          <p:spPr bwMode="auto">
            <a:xfrm>
              <a:off x="15358469" y="10707062"/>
              <a:ext cx="4142" cy="10356"/>
            </a:xfrm>
            <a:custGeom>
              <a:avLst/>
              <a:gdLst>
                <a:gd name="T0" fmla="*/ 0 w 8"/>
                <a:gd name="T1" fmla="*/ 0 h 22"/>
                <a:gd name="T2" fmla="*/ 7 w 8"/>
                <a:gd name="T3" fmla="*/ 0 h 22"/>
                <a:gd name="T4" fmla="*/ 0 w 8"/>
                <a:gd name="T5" fmla="*/ 21 h 22"/>
                <a:gd name="T6" fmla="*/ 0 w 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2">
                  <a:moveTo>
                    <a:pt x="0" y="0"/>
                  </a:moveTo>
                  <a:lnTo>
                    <a:pt x="7" y="0"/>
                  </a:lnTo>
                  <a:lnTo>
                    <a:pt x="0" y="21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59" name="Freeform 58"/>
            <p:cNvSpPr>
              <a:spLocks noChangeArrowheads="1"/>
            </p:cNvSpPr>
            <p:nvPr/>
          </p:nvSpPr>
          <p:spPr bwMode="auto">
            <a:xfrm>
              <a:off x="14283562" y="8811871"/>
              <a:ext cx="6214" cy="16570"/>
            </a:xfrm>
            <a:custGeom>
              <a:avLst/>
              <a:gdLst>
                <a:gd name="T0" fmla="*/ 14 w 15"/>
                <a:gd name="T1" fmla="*/ 35 h 36"/>
                <a:gd name="T2" fmla="*/ 14 w 15"/>
                <a:gd name="T3" fmla="*/ 21 h 36"/>
                <a:gd name="T4" fmla="*/ 0 w 15"/>
                <a:gd name="T5" fmla="*/ 0 h 36"/>
                <a:gd name="T6" fmla="*/ 14 w 15"/>
                <a:gd name="T7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6">
                  <a:moveTo>
                    <a:pt x="14" y="35"/>
                  </a:moveTo>
                  <a:lnTo>
                    <a:pt x="14" y="21"/>
                  </a:lnTo>
                  <a:lnTo>
                    <a:pt x="0" y="0"/>
                  </a:lnTo>
                  <a:lnTo>
                    <a:pt x="14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0" name="Freeform 59"/>
            <p:cNvSpPr>
              <a:spLocks noChangeArrowheads="1"/>
            </p:cNvSpPr>
            <p:nvPr/>
          </p:nvSpPr>
          <p:spPr bwMode="auto">
            <a:xfrm>
              <a:off x="15329473" y="8724879"/>
              <a:ext cx="4142" cy="10357"/>
            </a:xfrm>
            <a:custGeom>
              <a:avLst/>
              <a:gdLst>
                <a:gd name="T0" fmla="*/ 7 w 8"/>
                <a:gd name="T1" fmla="*/ 0 h 22"/>
                <a:gd name="T2" fmla="*/ 7 w 8"/>
                <a:gd name="T3" fmla="*/ 21 h 22"/>
                <a:gd name="T4" fmla="*/ 0 w 8"/>
                <a:gd name="T5" fmla="*/ 14 h 22"/>
                <a:gd name="T6" fmla="*/ 7 w 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2">
                  <a:moveTo>
                    <a:pt x="7" y="0"/>
                  </a:moveTo>
                  <a:lnTo>
                    <a:pt x="7" y="21"/>
                  </a:lnTo>
                  <a:lnTo>
                    <a:pt x="0" y="14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1" name="Freeform 60"/>
            <p:cNvSpPr>
              <a:spLocks noChangeArrowheads="1"/>
            </p:cNvSpPr>
            <p:nvPr/>
          </p:nvSpPr>
          <p:spPr bwMode="auto">
            <a:xfrm>
              <a:off x="15354326" y="8714523"/>
              <a:ext cx="4142" cy="6213"/>
            </a:xfrm>
            <a:custGeom>
              <a:avLst/>
              <a:gdLst>
                <a:gd name="T0" fmla="*/ 6 w 7"/>
                <a:gd name="T1" fmla="*/ 14 h 15"/>
                <a:gd name="T2" fmla="*/ 6 w 7"/>
                <a:gd name="T3" fmla="*/ 0 h 15"/>
                <a:gd name="T4" fmla="*/ 0 w 7"/>
                <a:gd name="T5" fmla="*/ 14 h 15"/>
                <a:gd name="T6" fmla="*/ 6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6" y="14"/>
                  </a:moveTo>
                  <a:lnTo>
                    <a:pt x="6" y="0"/>
                  </a:lnTo>
                  <a:lnTo>
                    <a:pt x="0" y="14"/>
                  </a:lnTo>
                  <a:lnTo>
                    <a:pt x="6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2" name="Freeform 61"/>
            <p:cNvSpPr>
              <a:spLocks noChangeArrowheads="1"/>
            </p:cNvSpPr>
            <p:nvPr/>
          </p:nvSpPr>
          <p:spPr bwMode="auto">
            <a:xfrm>
              <a:off x="14494816" y="10781627"/>
              <a:ext cx="4142" cy="4142"/>
            </a:xfrm>
            <a:custGeom>
              <a:avLst/>
              <a:gdLst>
                <a:gd name="T0" fmla="*/ 0 w 8"/>
                <a:gd name="T1" fmla="*/ 7 h 8"/>
                <a:gd name="T2" fmla="*/ 7 w 8"/>
                <a:gd name="T3" fmla="*/ 7 h 8"/>
                <a:gd name="T4" fmla="*/ 0 w 8"/>
                <a:gd name="T5" fmla="*/ 0 h 8"/>
                <a:gd name="T6" fmla="*/ 0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lnTo>
                    <a:pt x="7" y="7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3" name="Freeform 62"/>
            <p:cNvSpPr>
              <a:spLocks noChangeArrowheads="1"/>
            </p:cNvSpPr>
            <p:nvPr/>
          </p:nvSpPr>
          <p:spPr bwMode="auto">
            <a:xfrm>
              <a:off x="14486531" y="10781627"/>
              <a:ext cx="6214" cy="4142"/>
            </a:xfrm>
            <a:custGeom>
              <a:avLst/>
              <a:gdLst>
                <a:gd name="T0" fmla="*/ 14 w 15"/>
                <a:gd name="T1" fmla="*/ 0 h 8"/>
                <a:gd name="T2" fmla="*/ 14 w 15"/>
                <a:gd name="T3" fmla="*/ 7 h 8"/>
                <a:gd name="T4" fmla="*/ 0 w 15"/>
                <a:gd name="T5" fmla="*/ 7 h 8"/>
                <a:gd name="T6" fmla="*/ 14 w 15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14" y="0"/>
                  </a:moveTo>
                  <a:lnTo>
                    <a:pt x="14" y="7"/>
                  </a:lnTo>
                  <a:lnTo>
                    <a:pt x="0" y="7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4" name="Freeform 63"/>
            <p:cNvSpPr>
              <a:spLocks noChangeArrowheads="1"/>
            </p:cNvSpPr>
            <p:nvPr/>
          </p:nvSpPr>
          <p:spPr bwMode="auto">
            <a:xfrm>
              <a:off x="14509314" y="10767127"/>
              <a:ext cx="2071" cy="6214"/>
            </a:xfrm>
            <a:custGeom>
              <a:avLst/>
              <a:gdLst>
                <a:gd name="T0" fmla="*/ 0 w 1"/>
                <a:gd name="T1" fmla="*/ 0 h 15"/>
                <a:gd name="T2" fmla="*/ 0 w 1"/>
                <a:gd name="T3" fmla="*/ 7 h 15"/>
                <a:gd name="T4" fmla="*/ 0 w 1"/>
                <a:gd name="T5" fmla="*/ 14 h 15"/>
                <a:gd name="T6" fmla="*/ 0 w 1"/>
                <a:gd name="T7" fmla="*/ 7 h 15"/>
                <a:gd name="T8" fmla="*/ 0 w 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5">
                  <a:moveTo>
                    <a:pt x="0" y="0"/>
                  </a:moveTo>
                  <a:lnTo>
                    <a:pt x="0" y="7"/>
                  </a:lnTo>
                  <a:lnTo>
                    <a:pt x="0" y="1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5" name="Freeform 64"/>
            <p:cNvSpPr>
              <a:spLocks noChangeArrowheads="1"/>
            </p:cNvSpPr>
            <p:nvPr/>
          </p:nvSpPr>
          <p:spPr bwMode="auto">
            <a:xfrm>
              <a:off x="14498957" y="10789912"/>
              <a:ext cx="10356" cy="2071"/>
            </a:xfrm>
            <a:custGeom>
              <a:avLst/>
              <a:gdLst>
                <a:gd name="T0" fmla="*/ 14 w 22"/>
                <a:gd name="T1" fmla="*/ 0 h 1"/>
                <a:gd name="T2" fmla="*/ 21 w 22"/>
                <a:gd name="T3" fmla="*/ 0 h 1"/>
                <a:gd name="T4" fmla="*/ 0 w 22"/>
                <a:gd name="T5" fmla="*/ 0 h 1"/>
                <a:gd name="T6" fmla="*/ 14 w 2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6" name="Freeform 65"/>
            <p:cNvSpPr>
              <a:spLocks noChangeArrowheads="1"/>
            </p:cNvSpPr>
            <p:nvPr/>
          </p:nvSpPr>
          <p:spPr bwMode="auto">
            <a:xfrm>
              <a:off x="15292193" y="8625461"/>
              <a:ext cx="4142" cy="4142"/>
            </a:xfrm>
            <a:custGeom>
              <a:avLst/>
              <a:gdLst>
                <a:gd name="T0" fmla="*/ 0 w 8"/>
                <a:gd name="T1" fmla="*/ 0 h 7"/>
                <a:gd name="T2" fmla="*/ 7 w 8"/>
                <a:gd name="T3" fmla="*/ 0 h 7"/>
                <a:gd name="T4" fmla="*/ 0 w 8"/>
                <a:gd name="T5" fmla="*/ 6 h 7"/>
                <a:gd name="T6" fmla="*/ 0 w 8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7" name="Freeform 66"/>
            <p:cNvSpPr>
              <a:spLocks noChangeArrowheads="1"/>
            </p:cNvSpPr>
            <p:nvPr/>
          </p:nvSpPr>
          <p:spPr bwMode="auto">
            <a:xfrm>
              <a:off x="17539346" y="11572842"/>
              <a:ext cx="2495687" cy="1702563"/>
            </a:xfrm>
            <a:custGeom>
              <a:avLst/>
              <a:gdLst>
                <a:gd name="T0" fmla="*/ 3464 w 5315"/>
                <a:gd name="T1" fmla="*/ 3332 h 3626"/>
                <a:gd name="T2" fmla="*/ 3846 w 5315"/>
                <a:gd name="T3" fmla="*/ 3492 h 3626"/>
                <a:gd name="T4" fmla="*/ 4222 w 5315"/>
                <a:gd name="T5" fmla="*/ 3513 h 3626"/>
                <a:gd name="T6" fmla="*/ 4445 w 5315"/>
                <a:gd name="T7" fmla="*/ 3562 h 3626"/>
                <a:gd name="T8" fmla="*/ 4396 w 5315"/>
                <a:gd name="T9" fmla="*/ 3367 h 3626"/>
                <a:gd name="T10" fmla="*/ 4493 w 5315"/>
                <a:gd name="T11" fmla="*/ 3040 h 3626"/>
                <a:gd name="T12" fmla="*/ 4646 w 5315"/>
                <a:gd name="T13" fmla="*/ 2915 h 3626"/>
                <a:gd name="T14" fmla="*/ 4674 w 5315"/>
                <a:gd name="T15" fmla="*/ 2852 h 3626"/>
                <a:gd name="T16" fmla="*/ 4695 w 5315"/>
                <a:gd name="T17" fmla="*/ 2783 h 3626"/>
                <a:gd name="T18" fmla="*/ 4716 w 5315"/>
                <a:gd name="T19" fmla="*/ 2616 h 3626"/>
                <a:gd name="T20" fmla="*/ 4626 w 5315"/>
                <a:gd name="T21" fmla="*/ 2512 h 3626"/>
                <a:gd name="T22" fmla="*/ 4542 w 5315"/>
                <a:gd name="T23" fmla="*/ 2379 h 3626"/>
                <a:gd name="T24" fmla="*/ 4598 w 5315"/>
                <a:gd name="T25" fmla="*/ 2345 h 3626"/>
                <a:gd name="T26" fmla="*/ 4563 w 5315"/>
                <a:gd name="T27" fmla="*/ 2212 h 3626"/>
                <a:gd name="T28" fmla="*/ 4389 w 5315"/>
                <a:gd name="T29" fmla="*/ 2101 h 3626"/>
                <a:gd name="T30" fmla="*/ 4445 w 5315"/>
                <a:gd name="T31" fmla="*/ 1677 h 3626"/>
                <a:gd name="T32" fmla="*/ 4563 w 5315"/>
                <a:gd name="T33" fmla="*/ 1378 h 3626"/>
                <a:gd name="T34" fmla="*/ 4688 w 5315"/>
                <a:gd name="T35" fmla="*/ 1051 h 3626"/>
                <a:gd name="T36" fmla="*/ 4730 w 5315"/>
                <a:gd name="T37" fmla="*/ 939 h 3626"/>
                <a:gd name="T38" fmla="*/ 4904 w 5315"/>
                <a:gd name="T39" fmla="*/ 703 h 3626"/>
                <a:gd name="T40" fmla="*/ 5168 w 5315"/>
                <a:gd name="T41" fmla="*/ 265 h 3626"/>
                <a:gd name="T42" fmla="*/ 5238 w 5315"/>
                <a:gd name="T43" fmla="*/ 98 h 3626"/>
                <a:gd name="T44" fmla="*/ 4973 w 5315"/>
                <a:gd name="T45" fmla="*/ 119 h 3626"/>
                <a:gd name="T46" fmla="*/ 4820 w 5315"/>
                <a:gd name="T47" fmla="*/ 188 h 3626"/>
                <a:gd name="T48" fmla="*/ 4632 w 5315"/>
                <a:gd name="T49" fmla="*/ 188 h 3626"/>
                <a:gd name="T50" fmla="*/ 4584 w 5315"/>
                <a:gd name="T51" fmla="*/ 258 h 3626"/>
                <a:gd name="T52" fmla="*/ 4319 w 5315"/>
                <a:gd name="T53" fmla="*/ 341 h 3626"/>
                <a:gd name="T54" fmla="*/ 4055 w 5315"/>
                <a:gd name="T55" fmla="*/ 286 h 3626"/>
                <a:gd name="T56" fmla="*/ 3756 w 5315"/>
                <a:gd name="T57" fmla="*/ 383 h 3626"/>
                <a:gd name="T58" fmla="*/ 3506 w 5315"/>
                <a:gd name="T59" fmla="*/ 529 h 3626"/>
                <a:gd name="T60" fmla="*/ 3144 w 5315"/>
                <a:gd name="T61" fmla="*/ 619 h 3626"/>
                <a:gd name="T62" fmla="*/ 2887 w 5315"/>
                <a:gd name="T63" fmla="*/ 613 h 3626"/>
                <a:gd name="T64" fmla="*/ 2622 w 5315"/>
                <a:gd name="T65" fmla="*/ 578 h 3626"/>
                <a:gd name="T66" fmla="*/ 2226 w 5315"/>
                <a:gd name="T67" fmla="*/ 724 h 3626"/>
                <a:gd name="T68" fmla="*/ 1940 w 5315"/>
                <a:gd name="T69" fmla="*/ 613 h 3626"/>
                <a:gd name="T70" fmla="*/ 1815 w 5315"/>
                <a:gd name="T71" fmla="*/ 418 h 3626"/>
                <a:gd name="T72" fmla="*/ 1683 w 5315"/>
                <a:gd name="T73" fmla="*/ 453 h 3626"/>
                <a:gd name="T74" fmla="*/ 1544 w 5315"/>
                <a:gd name="T75" fmla="*/ 383 h 3626"/>
                <a:gd name="T76" fmla="*/ 1565 w 5315"/>
                <a:gd name="T77" fmla="*/ 327 h 3626"/>
                <a:gd name="T78" fmla="*/ 1481 w 5315"/>
                <a:gd name="T79" fmla="*/ 223 h 3626"/>
                <a:gd name="T80" fmla="*/ 1398 w 5315"/>
                <a:gd name="T81" fmla="*/ 230 h 3626"/>
                <a:gd name="T82" fmla="*/ 1307 w 5315"/>
                <a:gd name="T83" fmla="*/ 286 h 3626"/>
                <a:gd name="T84" fmla="*/ 1078 w 5315"/>
                <a:gd name="T85" fmla="*/ 320 h 3626"/>
                <a:gd name="T86" fmla="*/ 911 w 5315"/>
                <a:gd name="T87" fmla="*/ 578 h 3626"/>
                <a:gd name="T88" fmla="*/ 633 w 5315"/>
                <a:gd name="T89" fmla="*/ 480 h 3626"/>
                <a:gd name="T90" fmla="*/ 514 w 5315"/>
                <a:gd name="T91" fmla="*/ 279 h 3626"/>
                <a:gd name="T92" fmla="*/ 417 w 5315"/>
                <a:gd name="T93" fmla="*/ 418 h 3626"/>
                <a:gd name="T94" fmla="*/ 237 w 5315"/>
                <a:gd name="T95" fmla="*/ 508 h 3626"/>
                <a:gd name="T96" fmla="*/ 161 w 5315"/>
                <a:gd name="T97" fmla="*/ 626 h 3626"/>
                <a:gd name="T98" fmla="*/ 105 w 5315"/>
                <a:gd name="T99" fmla="*/ 780 h 3626"/>
                <a:gd name="T100" fmla="*/ 63 w 5315"/>
                <a:gd name="T101" fmla="*/ 988 h 3626"/>
                <a:gd name="T102" fmla="*/ 7 w 5315"/>
                <a:gd name="T103" fmla="*/ 1127 h 3626"/>
                <a:gd name="T104" fmla="*/ 230 w 5315"/>
                <a:gd name="T105" fmla="*/ 1405 h 3626"/>
                <a:gd name="T106" fmla="*/ 751 w 5315"/>
                <a:gd name="T107" fmla="*/ 1586 h 3626"/>
                <a:gd name="T108" fmla="*/ 987 w 5315"/>
                <a:gd name="T109" fmla="*/ 1767 h 3626"/>
                <a:gd name="T110" fmla="*/ 1314 w 5315"/>
                <a:gd name="T111" fmla="*/ 1872 h 3626"/>
                <a:gd name="T112" fmla="*/ 1488 w 5315"/>
                <a:gd name="T113" fmla="*/ 2059 h 3626"/>
                <a:gd name="T114" fmla="*/ 1794 w 5315"/>
                <a:gd name="T115" fmla="*/ 2219 h 3626"/>
                <a:gd name="T116" fmla="*/ 2024 w 5315"/>
                <a:gd name="T117" fmla="*/ 2393 h 3626"/>
                <a:gd name="T118" fmla="*/ 2358 w 5315"/>
                <a:gd name="T119" fmla="*/ 2595 h 3626"/>
                <a:gd name="T120" fmla="*/ 2747 w 5315"/>
                <a:gd name="T121" fmla="*/ 2616 h 3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15" h="3626">
                  <a:moveTo>
                    <a:pt x="3144" y="2846"/>
                  </a:moveTo>
                  <a:lnTo>
                    <a:pt x="3234" y="2964"/>
                  </a:lnTo>
                  <a:lnTo>
                    <a:pt x="3311" y="3131"/>
                  </a:lnTo>
                  <a:lnTo>
                    <a:pt x="3352" y="3263"/>
                  </a:lnTo>
                  <a:lnTo>
                    <a:pt x="3415" y="3325"/>
                  </a:lnTo>
                  <a:lnTo>
                    <a:pt x="3464" y="3332"/>
                  </a:lnTo>
                  <a:lnTo>
                    <a:pt x="3568" y="3360"/>
                  </a:lnTo>
                  <a:lnTo>
                    <a:pt x="3645" y="3374"/>
                  </a:lnTo>
                  <a:lnTo>
                    <a:pt x="3714" y="3465"/>
                  </a:lnTo>
                  <a:lnTo>
                    <a:pt x="3763" y="3471"/>
                  </a:lnTo>
                  <a:lnTo>
                    <a:pt x="3833" y="3479"/>
                  </a:lnTo>
                  <a:lnTo>
                    <a:pt x="3846" y="3492"/>
                  </a:lnTo>
                  <a:lnTo>
                    <a:pt x="3874" y="3499"/>
                  </a:lnTo>
                  <a:lnTo>
                    <a:pt x="3944" y="3471"/>
                  </a:lnTo>
                  <a:lnTo>
                    <a:pt x="3992" y="3444"/>
                  </a:lnTo>
                  <a:lnTo>
                    <a:pt x="4062" y="3444"/>
                  </a:lnTo>
                  <a:lnTo>
                    <a:pt x="4167" y="3527"/>
                  </a:lnTo>
                  <a:lnTo>
                    <a:pt x="4222" y="3513"/>
                  </a:lnTo>
                  <a:lnTo>
                    <a:pt x="4236" y="3499"/>
                  </a:lnTo>
                  <a:lnTo>
                    <a:pt x="4306" y="3534"/>
                  </a:lnTo>
                  <a:lnTo>
                    <a:pt x="4333" y="3597"/>
                  </a:lnTo>
                  <a:lnTo>
                    <a:pt x="4354" y="3604"/>
                  </a:lnTo>
                  <a:lnTo>
                    <a:pt x="4368" y="3625"/>
                  </a:lnTo>
                  <a:lnTo>
                    <a:pt x="4445" y="3562"/>
                  </a:lnTo>
                  <a:lnTo>
                    <a:pt x="4459" y="3576"/>
                  </a:lnTo>
                  <a:lnTo>
                    <a:pt x="4465" y="3541"/>
                  </a:lnTo>
                  <a:lnTo>
                    <a:pt x="4459" y="3534"/>
                  </a:lnTo>
                  <a:lnTo>
                    <a:pt x="4445" y="3513"/>
                  </a:lnTo>
                  <a:lnTo>
                    <a:pt x="4431" y="3409"/>
                  </a:lnTo>
                  <a:lnTo>
                    <a:pt x="4396" y="3367"/>
                  </a:lnTo>
                  <a:lnTo>
                    <a:pt x="4396" y="3325"/>
                  </a:lnTo>
                  <a:lnTo>
                    <a:pt x="4396" y="3284"/>
                  </a:lnTo>
                  <a:lnTo>
                    <a:pt x="4417" y="3270"/>
                  </a:lnTo>
                  <a:lnTo>
                    <a:pt x="4424" y="3173"/>
                  </a:lnTo>
                  <a:lnTo>
                    <a:pt x="4465" y="3131"/>
                  </a:lnTo>
                  <a:lnTo>
                    <a:pt x="4493" y="3040"/>
                  </a:lnTo>
                  <a:lnTo>
                    <a:pt x="4521" y="3012"/>
                  </a:lnTo>
                  <a:lnTo>
                    <a:pt x="4549" y="2971"/>
                  </a:lnTo>
                  <a:lnTo>
                    <a:pt x="4584" y="2950"/>
                  </a:lnTo>
                  <a:lnTo>
                    <a:pt x="4577" y="2936"/>
                  </a:lnTo>
                  <a:lnTo>
                    <a:pt x="4612" y="2922"/>
                  </a:lnTo>
                  <a:lnTo>
                    <a:pt x="4646" y="2915"/>
                  </a:lnTo>
                  <a:lnTo>
                    <a:pt x="4674" y="2908"/>
                  </a:lnTo>
                  <a:lnTo>
                    <a:pt x="4660" y="2887"/>
                  </a:lnTo>
                  <a:lnTo>
                    <a:pt x="4681" y="2880"/>
                  </a:lnTo>
                  <a:lnTo>
                    <a:pt x="4674" y="2873"/>
                  </a:lnTo>
                  <a:lnTo>
                    <a:pt x="4681" y="2873"/>
                  </a:lnTo>
                  <a:lnTo>
                    <a:pt x="4674" y="2852"/>
                  </a:lnTo>
                  <a:lnTo>
                    <a:pt x="4730" y="2818"/>
                  </a:lnTo>
                  <a:lnTo>
                    <a:pt x="4758" y="2846"/>
                  </a:lnTo>
                  <a:lnTo>
                    <a:pt x="4793" y="2846"/>
                  </a:lnTo>
                  <a:lnTo>
                    <a:pt x="4744" y="2769"/>
                  </a:lnTo>
                  <a:lnTo>
                    <a:pt x="4716" y="2776"/>
                  </a:lnTo>
                  <a:lnTo>
                    <a:pt x="4695" y="2783"/>
                  </a:lnTo>
                  <a:lnTo>
                    <a:pt x="4681" y="2727"/>
                  </a:lnTo>
                  <a:lnTo>
                    <a:pt x="4709" y="2713"/>
                  </a:lnTo>
                  <a:lnTo>
                    <a:pt x="4723" y="2741"/>
                  </a:lnTo>
                  <a:lnTo>
                    <a:pt x="4723" y="2713"/>
                  </a:lnTo>
                  <a:lnTo>
                    <a:pt x="4730" y="2658"/>
                  </a:lnTo>
                  <a:lnTo>
                    <a:pt x="4716" y="2616"/>
                  </a:lnTo>
                  <a:lnTo>
                    <a:pt x="4653" y="2616"/>
                  </a:lnTo>
                  <a:lnTo>
                    <a:pt x="4626" y="2609"/>
                  </a:lnTo>
                  <a:lnTo>
                    <a:pt x="4598" y="2574"/>
                  </a:lnTo>
                  <a:lnTo>
                    <a:pt x="4612" y="2525"/>
                  </a:lnTo>
                  <a:lnTo>
                    <a:pt x="4632" y="2539"/>
                  </a:lnTo>
                  <a:lnTo>
                    <a:pt x="4626" y="2512"/>
                  </a:lnTo>
                  <a:lnTo>
                    <a:pt x="4612" y="2519"/>
                  </a:lnTo>
                  <a:lnTo>
                    <a:pt x="4577" y="2519"/>
                  </a:lnTo>
                  <a:lnTo>
                    <a:pt x="4563" y="2463"/>
                  </a:lnTo>
                  <a:lnTo>
                    <a:pt x="4549" y="2442"/>
                  </a:lnTo>
                  <a:lnTo>
                    <a:pt x="4542" y="2386"/>
                  </a:lnTo>
                  <a:lnTo>
                    <a:pt x="4542" y="2379"/>
                  </a:lnTo>
                  <a:lnTo>
                    <a:pt x="4556" y="2366"/>
                  </a:lnTo>
                  <a:lnTo>
                    <a:pt x="4549" y="2331"/>
                  </a:lnTo>
                  <a:lnTo>
                    <a:pt x="4591" y="2317"/>
                  </a:lnTo>
                  <a:lnTo>
                    <a:pt x="4598" y="2331"/>
                  </a:lnTo>
                  <a:lnTo>
                    <a:pt x="4612" y="2379"/>
                  </a:lnTo>
                  <a:lnTo>
                    <a:pt x="4598" y="2345"/>
                  </a:lnTo>
                  <a:lnTo>
                    <a:pt x="4619" y="2317"/>
                  </a:lnTo>
                  <a:lnTo>
                    <a:pt x="4646" y="2345"/>
                  </a:lnTo>
                  <a:lnTo>
                    <a:pt x="4660" y="2317"/>
                  </a:lnTo>
                  <a:lnTo>
                    <a:pt x="4626" y="2282"/>
                  </a:lnTo>
                  <a:lnTo>
                    <a:pt x="4584" y="2219"/>
                  </a:lnTo>
                  <a:lnTo>
                    <a:pt x="4563" y="2212"/>
                  </a:lnTo>
                  <a:lnTo>
                    <a:pt x="4556" y="2226"/>
                  </a:lnTo>
                  <a:lnTo>
                    <a:pt x="4528" y="2219"/>
                  </a:lnTo>
                  <a:lnTo>
                    <a:pt x="4514" y="2219"/>
                  </a:lnTo>
                  <a:lnTo>
                    <a:pt x="4480" y="2192"/>
                  </a:lnTo>
                  <a:lnTo>
                    <a:pt x="4417" y="2178"/>
                  </a:lnTo>
                  <a:lnTo>
                    <a:pt x="4389" y="2101"/>
                  </a:lnTo>
                  <a:lnTo>
                    <a:pt x="4389" y="2066"/>
                  </a:lnTo>
                  <a:lnTo>
                    <a:pt x="4382" y="1865"/>
                  </a:lnTo>
                  <a:lnTo>
                    <a:pt x="4389" y="1774"/>
                  </a:lnTo>
                  <a:lnTo>
                    <a:pt x="4389" y="1760"/>
                  </a:lnTo>
                  <a:lnTo>
                    <a:pt x="4431" y="1698"/>
                  </a:lnTo>
                  <a:lnTo>
                    <a:pt x="4445" y="1677"/>
                  </a:lnTo>
                  <a:lnTo>
                    <a:pt x="4486" y="1642"/>
                  </a:lnTo>
                  <a:lnTo>
                    <a:pt x="4521" y="1593"/>
                  </a:lnTo>
                  <a:lnTo>
                    <a:pt x="4528" y="1572"/>
                  </a:lnTo>
                  <a:lnTo>
                    <a:pt x="4528" y="1461"/>
                  </a:lnTo>
                  <a:lnTo>
                    <a:pt x="4563" y="1412"/>
                  </a:lnTo>
                  <a:lnTo>
                    <a:pt x="4563" y="1378"/>
                  </a:lnTo>
                  <a:lnTo>
                    <a:pt x="4598" y="1301"/>
                  </a:lnTo>
                  <a:lnTo>
                    <a:pt x="4577" y="1239"/>
                  </a:lnTo>
                  <a:lnTo>
                    <a:pt x="4612" y="1169"/>
                  </a:lnTo>
                  <a:lnTo>
                    <a:pt x="4626" y="1127"/>
                  </a:lnTo>
                  <a:lnTo>
                    <a:pt x="4660" y="1086"/>
                  </a:lnTo>
                  <a:lnTo>
                    <a:pt x="4688" y="1051"/>
                  </a:lnTo>
                  <a:lnTo>
                    <a:pt x="4695" y="1016"/>
                  </a:lnTo>
                  <a:lnTo>
                    <a:pt x="4695" y="1009"/>
                  </a:lnTo>
                  <a:lnTo>
                    <a:pt x="4723" y="1002"/>
                  </a:lnTo>
                  <a:lnTo>
                    <a:pt x="4730" y="981"/>
                  </a:lnTo>
                  <a:lnTo>
                    <a:pt x="4723" y="953"/>
                  </a:lnTo>
                  <a:lnTo>
                    <a:pt x="4730" y="939"/>
                  </a:lnTo>
                  <a:lnTo>
                    <a:pt x="4786" y="877"/>
                  </a:lnTo>
                  <a:lnTo>
                    <a:pt x="4807" y="856"/>
                  </a:lnTo>
                  <a:lnTo>
                    <a:pt x="4827" y="814"/>
                  </a:lnTo>
                  <a:lnTo>
                    <a:pt x="4862" y="759"/>
                  </a:lnTo>
                  <a:lnTo>
                    <a:pt x="4876" y="745"/>
                  </a:lnTo>
                  <a:lnTo>
                    <a:pt x="4904" y="703"/>
                  </a:lnTo>
                  <a:lnTo>
                    <a:pt x="4925" y="675"/>
                  </a:lnTo>
                  <a:lnTo>
                    <a:pt x="4959" y="605"/>
                  </a:lnTo>
                  <a:lnTo>
                    <a:pt x="4987" y="578"/>
                  </a:lnTo>
                  <a:lnTo>
                    <a:pt x="5015" y="550"/>
                  </a:lnTo>
                  <a:lnTo>
                    <a:pt x="5085" y="411"/>
                  </a:lnTo>
                  <a:lnTo>
                    <a:pt x="5168" y="265"/>
                  </a:lnTo>
                  <a:lnTo>
                    <a:pt x="5182" y="230"/>
                  </a:lnTo>
                  <a:lnTo>
                    <a:pt x="5168" y="230"/>
                  </a:lnTo>
                  <a:lnTo>
                    <a:pt x="5168" y="251"/>
                  </a:lnTo>
                  <a:lnTo>
                    <a:pt x="5154" y="244"/>
                  </a:lnTo>
                  <a:lnTo>
                    <a:pt x="5182" y="146"/>
                  </a:lnTo>
                  <a:lnTo>
                    <a:pt x="5238" y="98"/>
                  </a:lnTo>
                  <a:lnTo>
                    <a:pt x="5314" y="70"/>
                  </a:lnTo>
                  <a:lnTo>
                    <a:pt x="5272" y="63"/>
                  </a:lnTo>
                  <a:lnTo>
                    <a:pt x="5217" y="49"/>
                  </a:lnTo>
                  <a:lnTo>
                    <a:pt x="5133" y="0"/>
                  </a:lnTo>
                  <a:lnTo>
                    <a:pt x="5085" y="14"/>
                  </a:lnTo>
                  <a:lnTo>
                    <a:pt x="4973" y="119"/>
                  </a:lnTo>
                  <a:lnTo>
                    <a:pt x="4939" y="132"/>
                  </a:lnTo>
                  <a:lnTo>
                    <a:pt x="4925" y="132"/>
                  </a:lnTo>
                  <a:lnTo>
                    <a:pt x="4883" y="160"/>
                  </a:lnTo>
                  <a:lnTo>
                    <a:pt x="4848" y="167"/>
                  </a:lnTo>
                  <a:lnTo>
                    <a:pt x="4820" y="181"/>
                  </a:lnTo>
                  <a:lnTo>
                    <a:pt x="4820" y="188"/>
                  </a:lnTo>
                  <a:lnTo>
                    <a:pt x="4793" y="188"/>
                  </a:lnTo>
                  <a:lnTo>
                    <a:pt x="4786" y="188"/>
                  </a:lnTo>
                  <a:lnTo>
                    <a:pt x="4758" y="195"/>
                  </a:lnTo>
                  <a:lnTo>
                    <a:pt x="4723" y="209"/>
                  </a:lnTo>
                  <a:lnTo>
                    <a:pt x="4688" y="209"/>
                  </a:lnTo>
                  <a:lnTo>
                    <a:pt x="4632" y="188"/>
                  </a:lnTo>
                  <a:lnTo>
                    <a:pt x="4653" y="112"/>
                  </a:lnTo>
                  <a:lnTo>
                    <a:pt x="4632" y="70"/>
                  </a:lnTo>
                  <a:lnTo>
                    <a:pt x="4612" y="84"/>
                  </a:lnTo>
                  <a:lnTo>
                    <a:pt x="4626" y="98"/>
                  </a:lnTo>
                  <a:lnTo>
                    <a:pt x="4632" y="125"/>
                  </a:lnTo>
                  <a:lnTo>
                    <a:pt x="4584" y="258"/>
                  </a:lnTo>
                  <a:lnTo>
                    <a:pt x="4521" y="327"/>
                  </a:lnTo>
                  <a:lnTo>
                    <a:pt x="4431" y="376"/>
                  </a:lnTo>
                  <a:lnTo>
                    <a:pt x="4382" y="397"/>
                  </a:lnTo>
                  <a:lnTo>
                    <a:pt x="4354" y="383"/>
                  </a:lnTo>
                  <a:lnTo>
                    <a:pt x="4326" y="376"/>
                  </a:lnTo>
                  <a:lnTo>
                    <a:pt x="4319" y="341"/>
                  </a:lnTo>
                  <a:lnTo>
                    <a:pt x="4326" y="348"/>
                  </a:lnTo>
                  <a:lnTo>
                    <a:pt x="4319" y="341"/>
                  </a:lnTo>
                  <a:lnTo>
                    <a:pt x="4215" y="327"/>
                  </a:lnTo>
                  <a:lnTo>
                    <a:pt x="4173" y="313"/>
                  </a:lnTo>
                  <a:lnTo>
                    <a:pt x="4104" y="251"/>
                  </a:lnTo>
                  <a:lnTo>
                    <a:pt x="4055" y="286"/>
                  </a:lnTo>
                  <a:lnTo>
                    <a:pt x="3965" y="299"/>
                  </a:lnTo>
                  <a:lnTo>
                    <a:pt x="3930" y="313"/>
                  </a:lnTo>
                  <a:lnTo>
                    <a:pt x="3895" y="327"/>
                  </a:lnTo>
                  <a:lnTo>
                    <a:pt x="3860" y="327"/>
                  </a:lnTo>
                  <a:lnTo>
                    <a:pt x="3825" y="299"/>
                  </a:lnTo>
                  <a:lnTo>
                    <a:pt x="3756" y="383"/>
                  </a:lnTo>
                  <a:lnTo>
                    <a:pt x="3728" y="418"/>
                  </a:lnTo>
                  <a:lnTo>
                    <a:pt x="3673" y="473"/>
                  </a:lnTo>
                  <a:lnTo>
                    <a:pt x="3638" y="508"/>
                  </a:lnTo>
                  <a:lnTo>
                    <a:pt x="3596" y="508"/>
                  </a:lnTo>
                  <a:lnTo>
                    <a:pt x="3575" y="522"/>
                  </a:lnTo>
                  <a:lnTo>
                    <a:pt x="3506" y="529"/>
                  </a:lnTo>
                  <a:lnTo>
                    <a:pt x="3471" y="557"/>
                  </a:lnTo>
                  <a:lnTo>
                    <a:pt x="3346" y="592"/>
                  </a:lnTo>
                  <a:lnTo>
                    <a:pt x="3311" y="578"/>
                  </a:lnTo>
                  <a:lnTo>
                    <a:pt x="3220" y="613"/>
                  </a:lnTo>
                  <a:lnTo>
                    <a:pt x="3213" y="619"/>
                  </a:lnTo>
                  <a:lnTo>
                    <a:pt x="3144" y="619"/>
                  </a:lnTo>
                  <a:lnTo>
                    <a:pt x="3123" y="640"/>
                  </a:lnTo>
                  <a:lnTo>
                    <a:pt x="3109" y="640"/>
                  </a:lnTo>
                  <a:lnTo>
                    <a:pt x="3039" y="626"/>
                  </a:lnTo>
                  <a:lnTo>
                    <a:pt x="3026" y="640"/>
                  </a:lnTo>
                  <a:lnTo>
                    <a:pt x="2887" y="619"/>
                  </a:lnTo>
                  <a:lnTo>
                    <a:pt x="2887" y="613"/>
                  </a:lnTo>
                  <a:lnTo>
                    <a:pt x="2879" y="619"/>
                  </a:lnTo>
                  <a:lnTo>
                    <a:pt x="2831" y="605"/>
                  </a:lnTo>
                  <a:lnTo>
                    <a:pt x="2761" y="626"/>
                  </a:lnTo>
                  <a:lnTo>
                    <a:pt x="2699" y="619"/>
                  </a:lnTo>
                  <a:lnTo>
                    <a:pt x="2650" y="578"/>
                  </a:lnTo>
                  <a:lnTo>
                    <a:pt x="2622" y="578"/>
                  </a:lnTo>
                  <a:lnTo>
                    <a:pt x="2553" y="592"/>
                  </a:lnTo>
                  <a:lnTo>
                    <a:pt x="2518" y="592"/>
                  </a:lnTo>
                  <a:lnTo>
                    <a:pt x="2483" y="613"/>
                  </a:lnTo>
                  <a:lnTo>
                    <a:pt x="2448" y="640"/>
                  </a:lnTo>
                  <a:lnTo>
                    <a:pt x="2302" y="703"/>
                  </a:lnTo>
                  <a:lnTo>
                    <a:pt x="2226" y="724"/>
                  </a:lnTo>
                  <a:lnTo>
                    <a:pt x="2128" y="717"/>
                  </a:lnTo>
                  <a:lnTo>
                    <a:pt x="2100" y="703"/>
                  </a:lnTo>
                  <a:lnTo>
                    <a:pt x="2121" y="689"/>
                  </a:lnTo>
                  <a:lnTo>
                    <a:pt x="2059" y="675"/>
                  </a:lnTo>
                  <a:lnTo>
                    <a:pt x="2038" y="675"/>
                  </a:lnTo>
                  <a:lnTo>
                    <a:pt x="1940" y="613"/>
                  </a:lnTo>
                  <a:lnTo>
                    <a:pt x="1933" y="605"/>
                  </a:lnTo>
                  <a:lnTo>
                    <a:pt x="1857" y="550"/>
                  </a:lnTo>
                  <a:lnTo>
                    <a:pt x="1829" y="522"/>
                  </a:lnTo>
                  <a:lnTo>
                    <a:pt x="1836" y="508"/>
                  </a:lnTo>
                  <a:lnTo>
                    <a:pt x="1829" y="438"/>
                  </a:lnTo>
                  <a:lnTo>
                    <a:pt x="1815" y="418"/>
                  </a:lnTo>
                  <a:lnTo>
                    <a:pt x="1780" y="411"/>
                  </a:lnTo>
                  <a:lnTo>
                    <a:pt x="1773" y="418"/>
                  </a:lnTo>
                  <a:lnTo>
                    <a:pt x="1739" y="446"/>
                  </a:lnTo>
                  <a:lnTo>
                    <a:pt x="1704" y="453"/>
                  </a:lnTo>
                  <a:lnTo>
                    <a:pt x="1683" y="473"/>
                  </a:lnTo>
                  <a:lnTo>
                    <a:pt x="1683" y="453"/>
                  </a:lnTo>
                  <a:lnTo>
                    <a:pt x="1613" y="446"/>
                  </a:lnTo>
                  <a:lnTo>
                    <a:pt x="1579" y="425"/>
                  </a:lnTo>
                  <a:lnTo>
                    <a:pt x="1565" y="411"/>
                  </a:lnTo>
                  <a:lnTo>
                    <a:pt x="1551" y="397"/>
                  </a:lnTo>
                  <a:lnTo>
                    <a:pt x="1544" y="390"/>
                  </a:lnTo>
                  <a:lnTo>
                    <a:pt x="1544" y="383"/>
                  </a:lnTo>
                  <a:lnTo>
                    <a:pt x="1537" y="383"/>
                  </a:lnTo>
                  <a:lnTo>
                    <a:pt x="1544" y="376"/>
                  </a:lnTo>
                  <a:lnTo>
                    <a:pt x="1551" y="383"/>
                  </a:lnTo>
                  <a:lnTo>
                    <a:pt x="1551" y="362"/>
                  </a:lnTo>
                  <a:lnTo>
                    <a:pt x="1551" y="348"/>
                  </a:lnTo>
                  <a:lnTo>
                    <a:pt x="1565" y="327"/>
                  </a:lnTo>
                  <a:lnTo>
                    <a:pt x="1544" y="286"/>
                  </a:lnTo>
                  <a:lnTo>
                    <a:pt x="1537" y="258"/>
                  </a:lnTo>
                  <a:lnTo>
                    <a:pt x="1537" y="244"/>
                  </a:lnTo>
                  <a:lnTo>
                    <a:pt x="1516" y="251"/>
                  </a:lnTo>
                  <a:lnTo>
                    <a:pt x="1488" y="230"/>
                  </a:lnTo>
                  <a:lnTo>
                    <a:pt x="1481" y="223"/>
                  </a:lnTo>
                  <a:lnTo>
                    <a:pt x="1488" y="209"/>
                  </a:lnTo>
                  <a:lnTo>
                    <a:pt x="1481" y="195"/>
                  </a:lnTo>
                  <a:lnTo>
                    <a:pt x="1467" y="167"/>
                  </a:lnTo>
                  <a:lnTo>
                    <a:pt x="1440" y="188"/>
                  </a:lnTo>
                  <a:lnTo>
                    <a:pt x="1412" y="209"/>
                  </a:lnTo>
                  <a:lnTo>
                    <a:pt x="1398" y="230"/>
                  </a:lnTo>
                  <a:lnTo>
                    <a:pt x="1384" y="223"/>
                  </a:lnTo>
                  <a:lnTo>
                    <a:pt x="1370" y="230"/>
                  </a:lnTo>
                  <a:lnTo>
                    <a:pt x="1349" y="223"/>
                  </a:lnTo>
                  <a:lnTo>
                    <a:pt x="1335" y="258"/>
                  </a:lnTo>
                  <a:lnTo>
                    <a:pt x="1314" y="279"/>
                  </a:lnTo>
                  <a:lnTo>
                    <a:pt x="1307" y="286"/>
                  </a:lnTo>
                  <a:lnTo>
                    <a:pt x="1217" y="292"/>
                  </a:lnTo>
                  <a:lnTo>
                    <a:pt x="1210" y="265"/>
                  </a:lnTo>
                  <a:lnTo>
                    <a:pt x="1182" y="265"/>
                  </a:lnTo>
                  <a:lnTo>
                    <a:pt x="1140" y="251"/>
                  </a:lnTo>
                  <a:lnTo>
                    <a:pt x="1078" y="286"/>
                  </a:lnTo>
                  <a:lnTo>
                    <a:pt x="1078" y="320"/>
                  </a:lnTo>
                  <a:lnTo>
                    <a:pt x="1057" y="348"/>
                  </a:lnTo>
                  <a:lnTo>
                    <a:pt x="1029" y="355"/>
                  </a:lnTo>
                  <a:lnTo>
                    <a:pt x="1071" y="446"/>
                  </a:lnTo>
                  <a:lnTo>
                    <a:pt x="1071" y="480"/>
                  </a:lnTo>
                  <a:lnTo>
                    <a:pt x="987" y="529"/>
                  </a:lnTo>
                  <a:lnTo>
                    <a:pt x="911" y="578"/>
                  </a:lnTo>
                  <a:lnTo>
                    <a:pt x="792" y="605"/>
                  </a:lnTo>
                  <a:lnTo>
                    <a:pt x="751" y="592"/>
                  </a:lnTo>
                  <a:lnTo>
                    <a:pt x="730" y="550"/>
                  </a:lnTo>
                  <a:lnTo>
                    <a:pt x="716" y="557"/>
                  </a:lnTo>
                  <a:lnTo>
                    <a:pt x="695" y="543"/>
                  </a:lnTo>
                  <a:lnTo>
                    <a:pt x="633" y="480"/>
                  </a:lnTo>
                  <a:lnTo>
                    <a:pt x="612" y="446"/>
                  </a:lnTo>
                  <a:lnTo>
                    <a:pt x="591" y="383"/>
                  </a:lnTo>
                  <a:lnTo>
                    <a:pt x="591" y="348"/>
                  </a:lnTo>
                  <a:lnTo>
                    <a:pt x="570" y="327"/>
                  </a:lnTo>
                  <a:lnTo>
                    <a:pt x="563" y="279"/>
                  </a:lnTo>
                  <a:lnTo>
                    <a:pt x="514" y="279"/>
                  </a:lnTo>
                  <a:lnTo>
                    <a:pt x="500" y="251"/>
                  </a:lnTo>
                  <a:lnTo>
                    <a:pt x="473" y="279"/>
                  </a:lnTo>
                  <a:lnTo>
                    <a:pt x="514" y="348"/>
                  </a:lnTo>
                  <a:lnTo>
                    <a:pt x="466" y="425"/>
                  </a:lnTo>
                  <a:lnTo>
                    <a:pt x="452" y="438"/>
                  </a:lnTo>
                  <a:lnTo>
                    <a:pt x="417" y="418"/>
                  </a:lnTo>
                  <a:lnTo>
                    <a:pt x="382" y="418"/>
                  </a:lnTo>
                  <a:lnTo>
                    <a:pt x="389" y="446"/>
                  </a:lnTo>
                  <a:lnTo>
                    <a:pt x="361" y="487"/>
                  </a:lnTo>
                  <a:lnTo>
                    <a:pt x="340" y="494"/>
                  </a:lnTo>
                  <a:lnTo>
                    <a:pt x="264" y="515"/>
                  </a:lnTo>
                  <a:lnTo>
                    <a:pt x="237" y="508"/>
                  </a:lnTo>
                  <a:lnTo>
                    <a:pt x="174" y="585"/>
                  </a:lnTo>
                  <a:lnTo>
                    <a:pt x="167" y="605"/>
                  </a:lnTo>
                  <a:lnTo>
                    <a:pt x="161" y="613"/>
                  </a:lnTo>
                  <a:lnTo>
                    <a:pt x="112" y="619"/>
                  </a:lnTo>
                  <a:lnTo>
                    <a:pt x="112" y="626"/>
                  </a:lnTo>
                  <a:lnTo>
                    <a:pt x="161" y="626"/>
                  </a:lnTo>
                  <a:lnTo>
                    <a:pt x="133" y="640"/>
                  </a:lnTo>
                  <a:lnTo>
                    <a:pt x="133" y="668"/>
                  </a:lnTo>
                  <a:lnTo>
                    <a:pt x="133" y="675"/>
                  </a:lnTo>
                  <a:lnTo>
                    <a:pt x="112" y="703"/>
                  </a:lnTo>
                  <a:lnTo>
                    <a:pt x="112" y="717"/>
                  </a:lnTo>
                  <a:lnTo>
                    <a:pt x="105" y="780"/>
                  </a:lnTo>
                  <a:lnTo>
                    <a:pt x="91" y="814"/>
                  </a:lnTo>
                  <a:lnTo>
                    <a:pt x="56" y="856"/>
                  </a:lnTo>
                  <a:lnTo>
                    <a:pt x="70" y="877"/>
                  </a:lnTo>
                  <a:lnTo>
                    <a:pt x="63" y="884"/>
                  </a:lnTo>
                  <a:lnTo>
                    <a:pt x="98" y="939"/>
                  </a:lnTo>
                  <a:lnTo>
                    <a:pt x="63" y="988"/>
                  </a:lnTo>
                  <a:lnTo>
                    <a:pt x="63" y="1037"/>
                  </a:lnTo>
                  <a:lnTo>
                    <a:pt x="14" y="1086"/>
                  </a:lnTo>
                  <a:lnTo>
                    <a:pt x="28" y="1065"/>
                  </a:lnTo>
                  <a:lnTo>
                    <a:pt x="0" y="1099"/>
                  </a:lnTo>
                  <a:lnTo>
                    <a:pt x="7" y="1134"/>
                  </a:lnTo>
                  <a:lnTo>
                    <a:pt x="7" y="1127"/>
                  </a:lnTo>
                  <a:lnTo>
                    <a:pt x="28" y="1134"/>
                  </a:lnTo>
                  <a:lnTo>
                    <a:pt x="63" y="1204"/>
                  </a:lnTo>
                  <a:lnTo>
                    <a:pt x="63" y="1259"/>
                  </a:lnTo>
                  <a:lnTo>
                    <a:pt x="63" y="1294"/>
                  </a:lnTo>
                  <a:lnTo>
                    <a:pt x="161" y="1405"/>
                  </a:lnTo>
                  <a:lnTo>
                    <a:pt x="230" y="1405"/>
                  </a:lnTo>
                  <a:lnTo>
                    <a:pt x="306" y="1461"/>
                  </a:lnTo>
                  <a:lnTo>
                    <a:pt x="361" y="1572"/>
                  </a:lnTo>
                  <a:lnTo>
                    <a:pt x="368" y="1593"/>
                  </a:lnTo>
                  <a:lnTo>
                    <a:pt x="417" y="1628"/>
                  </a:lnTo>
                  <a:lnTo>
                    <a:pt x="556" y="1586"/>
                  </a:lnTo>
                  <a:lnTo>
                    <a:pt x="751" y="1586"/>
                  </a:lnTo>
                  <a:lnTo>
                    <a:pt x="779" y="1593"/>
                  </a:lnTo>
                  <a:lnTo>
                    <a:pt x="792" y="1593"/>
                  </a:lnTo>
                  <a:lnTo>
                    <a:pt x="883" y="1628"/>
                  </a:lnTo>
                  <a:lnTo>
                    <a:pt x="925" y="1670"/>
                  </a:lnTo>
                  <a:lnTo>
                    <a:pt x="959" y="1760"/>
                  </a:lnTo>
                  <a:lnTo>
                    <a:pt x="987" y="1767"/>
                  </a:lnTo>
                  <a:lnTo>
                    <a:pt x="1022" y="1760"/>
                  </a:lnTo>
                  <a:lnTo>
                    <a:pt x="1113" y="1760"/>
                  </a:lnTo>
                  <a:lnTo>
                    <a:pt x="1175" y="1767"/>
                  </a:lnTo>
                  <a:lnTo>
                    <a:pt x="1238" y="1788"/>
                  </a:lnTo>
                  <a:lnTo>
                    <a:pt x="1273" y="1837"/>
                  </a:lnTo>
                  <a:lnTo>
                    <a:pt x="1314" y="1872"/>
                  </a:lnTo>
                  <a:lnTo>
                    <a:pt x="1384" y="1969"/>
                  </a:lnTo>
                  <a:lnTo>
                    <a:pt x="1384" y="1990"/>
                  </a:lnTo>
                  <a:lnTo>
                    <a:pt x="1405" y="1997"/>
                  </a:lnTo>
                  <a:lnTo>
                    <a:pt x="1419" y="1997"/>
                  </a:lnTo>
                  <a:lnTo>
                    <a:pt x="1453" y="2025"/>
                  </a:lnTo>
                  <a:lnTo>
                    <a:pt x="1488" y="2059"/>
                  </a:lnTo>
                  <a:lnTo>
                    <a:pt x="1537" y="2087"/>
                  </a:lnTo>
                  <a:lnTo>
                    <a:pt x="1627" y="2150"/>
                  </a:lnTo>
                  <a:lnTo>
                    <a:pt x="1662" y="2192"/>
                  </a:lnTo>
                  <a:lnTo>
                    <a:pt x="1704" y="2212"/>
                  </a:lnTo>
                  <a:lnTo>
                    <a:pt x="1746" y="2219"/>
                  </a:lnTo>
                  <a:lnTo>
                    <a:pt x="1794" y="2219"/>
                  </a:lnTo>
                  <a:lnTo>
                    <a:pt x="1815" y="2233"/>
                  </a:lnTo>
                  <a:lnTo>
                    <a:pt x="1836" y="2219"/>
                  </a:lnTo>
                  <a:lnTo>
                    <a:pt x="1857" y="2226"/>
                  </a:lnTo>
                  <a:lnTo>
                    <a:pt x="1913" y="2282"/>
                  </a:lnTo>
                  <a:lnTo>
                    <a:pt x="1968" y="2345"/>
                  </a:lnTo>
                  <a:lnTo>
                    <a:pt x="2024" y="2393"/>
                  </a:lnTo>
                  <a:lnTo>
                    <a:pt x="2038" y="2428"/>
                  </a:lnTo>
                  <a:lnTo>
                    <a:pt x="2156" y="2498"/>
                  </a:lnTo>
                  <a:lnTo>
                    <a:pt x="2198" y="2539"/>
                  </a:lnTo>
                  <a:lnTo>
                    <a:pt x="2302" y="2546"/>
                  </a:lnTo>
                  <a:lnTo>
                    <a:pt x="2316" y="2553"/>
                  </a:lnTo>
                  <a:lnTo>
                    <a:pt x="2358" y="2595"/>
                  </a:lnTo>
                  <a:lnTo>
                    <a:pt x="2393" y="2637"/>
                  </a:lnTo>
                  <a:lnTo>
                    <a:pt x="2490" y="2651"/>
                  </a:lnTo>
                  <a:lnTo>
                    <a:pt x="2504" y="2651"/>
                  </a:lnTo>
                  <a:lnTo>
                    <a:pt x="2532" y="2616"/>
                  </a:lnTo>
                  <a:lnTo>
                    <a:pt x="2650" y="2623"/>
                  </a:lnTo>
                  <a:lnTo>
                    <a:pt x="2747" y="2616"/>
                  </a:lnTo>
                  <a:lnTo>
                    <a:pt x="2782" y="2623"/>
                  </a:lnTo>
                  <a:lnTo>
                    <a:pt x="2928" y="2679"/>
                  </a:lnTo>
                  <a:lnTo>
                    <a:pt x="3053" y="2755"/>
                  </a:lnTo>
                  <a:lnTo>
                    <a:pt x="3144" y="284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8" name="Freeform 67"/>
            <p:cNvSpPr>
              <a:spLocks noChangeArrowheads="1"/>
            </p:cNvSpPr>
            <p:nvPr/>
          </p:nvSpPr>
          <p:spPr bwMode="auto">
            <a:xfrm>
              <a:off x="19523469" y="12138291"/>
              <a:ext cx="6214" cy="4142"/>
            </a:xfrm>
            <a:custGeom>
              <a:avLst/>
              <a:gdLst>
                <a:gd name="T0" fmla="*/ 0 w 15"/>
                <a:gd name="T1" fmla="*/ 0 h 8"/>
                <a:gd name="T2" fmla="*/ 7 w 15"/>
                <a:gd name="T3" fmla="*/ 0 h 8"/>
                <a:gd name="T4" fmla="*/ 14 w 15"/>
                <a:gd name="T5" fmla="*/ 0 h 8"/>
                <a:gd name="T6" fmla="*/ 14 w 15"/>
                <a:gd name="T7" fmla="*/ 7 h 8"/>
                <a:gd name="T8" fmla="*/ 7 w 15"/>
                <a:gd name="T9" fmla="*/ 7 h 8"/>
                <a:gd name="T10" fmla="*/ 0 w 15"/>
                <a:gd name="T11" fmla="*/ 7 h 8"/>
                <a:gd name="T12" fmla="*/ 0 w 15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8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14" y="7"/>
                  </a:lnTo>
                  <a:lnTo>
                    <a:pt x="7" y="7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69" name="Freeform 68"/>
            <p:cNvSpPr>
              <a:spLocks noChangeArrowheads="1"/>
            </p:cNvSpPr>
            <p:nvPr/>
          </p:nvSpPr>
          <p:spPr bwMode="auto">
            <a:xfrm>
              <a:off x="17154120" y="13078636"/>
              <a:ext cx="95271" cy="105634"/>
            </a:xfrm>
            <a:custGeom>
              <a:avLst/>
              <a:gdLst>
                <a:gd name="T0" fmla="*/ 0 w 203"/>
                <a:gd name="T1" fmla="*/ 77 h 224"/>
                <a:gd name="T2" fmla="*/ 42 w 203"/>
                <a:gd name="T3" fmla="*/ 139 h 224"/>
                <a:gd name="T4" fmla="*/ 77 w 203"/>
                <a:gd name="T5" fmla="*/ 188 h 224"/>
                <a:gd name="T6" fmla="*/ 98 w 203"/>
                <a:gd name="T7" fmla="*/ 209 h 224"/>
                <a:gd name="T8" fmla="*/ 167 w 203"/>
                <a:gd name="T9" fmla="*/ 223 h 224"/>
                <a:gd name="T10" fmla="*/ 202 w 203"/>
                <a:gd name="T11" fmla="*/ 188 h 224"/>
                <a:gd name="T12" fmla="*/ 202 w 203"/>
                <a:gd name="T13" fmla="*/ 98 h 224"/>
                <a:gd name="T14" fmla="*/ 195 w 203"/>
                <a:gd name="T15" fmla="*/ 77 h 224"/>
                <a:gd name="T16" fmla="*/ 126 w 203"/>
                <a:gd name="T17" fmla="*/ 28 h 224"/>
                <a:gd name="T18" fmla="*/ 112 w 203"/>
                <a:gd name="T19" fmla="*/ 35 h 224"/>
                <a:gd name="T20" fmla="*/ 77 w 203"/>
                <a:gd name="T21" fmla="*/ 21 h 224"/>
                <a:gd name="T22" fmla="*/ 35 w 203"/>
                <a:gd name="T23" fmla="*/ 0 h 224"/>
                <a:gd name="T24" fmla="*/ 15 w 203"/>
                <a:gd name="T25" fmla="*/ 7 h 224"/>
                <a:gd name="T26" fmla="*/ 0 w 203"/>
                <a:gd name="T27" fmla="*/ 7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3" h="224">
                  <a:moveTo>
                    <a:pt x="0" y="77"/>
                  </a:moveTo>
                  <a:lnTo>
                    <a:pt x="42" y="139"/>
                  </a:lnTo>
                  <a:lnTo>
                    <a:pt x="77" y="188"/>
                  </a:lnTo>
                  <a:lnTo>
                    <a:pt x="98" y="209"/>
                  </a:lnTo>
                  <a:lnTo>
                    <a:pt x="167" y="223"/>
                  </a:lnTo>
                  <a:lnTo>
                    <a:pt x="202" y="188"/>
                  </a:lnTo>
                  <a:lnTo>
                    <a:pt x="202" y="98"/>
                  </a:lnTo>
                  <a:lnTo>
                    <a:pt x="195" y="77"/>
                  </a:lnTo>
                  <a:lnTo>
                    <a:pt x="126" y="28"/>
                  </a:lnTo>
                  <a:lnTo>
                    <a:pt x="112" y="35"/>
                  </a:lnTo>
                  <a:lnTo>
                    <a:pt x="77" y="21"/>
                  </a:lnTo>
                  <a:lnTo>
                    <a:pt x="35" y="0"/>
                  </a:lnTo>
                  <a:lnTo>
                    <a:pt x="15" y="7"/>
                  </a:lnTo>
                  <a:lnTo>
                    <a:pt x="0" y="7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0" name="Freeform 69"/>
            <p:cNvSpPr>
              <a:spLocks noChangeArrowheads="1"/>
            </p:cNvSpPr>
            <p:nvPr/>
          </p:nvSpPr>
          <p:spPr bwMode="auto">
            <a:xfrm>
              <a:off x="19450980" y="11347074"/>
              <a:ext cx="62133" cy="82850"/>
            </a:xfrm>
            <a:custGeom>
              <a:avLst/>
              <a:gdLst>
                <a:gd name="T0" fmla="*/ 56 w 133"/>
                <a:gd name="T1" fmla="*/ 139 h 175"/>
                <a:gd name="T2" fmla="*/ 84 w 133"/>
                <a:gd name="T3" fmla="*/ 174 h 175"/>
                <a:gd name="T4" fmla="*/ 104 w 133"/>
                <a:gd name="T5" fmla="*/ 153 h 175"/>
                <a:gd name="T6" fmla="*/ 98 w 133"/>
                <a:gd name="T7" fmla="*/ 105 h 175"/>
                <a:gd name="T8" fmla="*/ 132 w 133"/>
                <a:gd name="T9" fmla="*/ 84 h 175"/>
                <a:gd name="T10" fmla="*/ 104 w 133"/>
                <a:gd name="T11" fmla="*/ 77 h 175"/>
                <a:gd name="T12" fmla="*/ 98 w 133"/>
                <a:gd name="T13" fmla="*/ 0 h 175"/>
                <a:gd name="T14" fmla="*/ 28 w 133"/>
                <a:gd name="T15" fmla="*/ 7 h 175"/>
                <a:gd name="T16" fmla="*/ 0 w 133"/>
                <a:gd name="T17" fmla="*/ 70 h 175"/>
                <a:gd name="T18" fmla="*/ 21 w 133"/>
                <a:gd name="T19" fmla="*/ 119 h 175"/>
                <a:gd name="T20" fmla="*/ 35 w 133"/>
                <a:gd name="T21" fmla="*/ 132 h 175"/>
                <a:gd name="T22" fmla="*/ 56 w 133"/>
                <a:gd name="T23" fmla="*/ 13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175">
                  <a:moveTo>
                    <a:pt x="56" y="139"/>
                  </a:moveTo>
                  <a:lnTo>
                    <a:pt x="84" y="174"/>
                  </a:lnTo>
                  <a:lnTo>
                    <a:pt x="104" y="153"/>
                  </a:lnTo>
                  <a:lnTo>
                    <a:pt x="98" y="105"/>
                  </a:lnTo>
                  <a:lnTo>
                    <a:pt x="132" y="84"/>
                  </a:lnTo>
                  <a:lnTo>
                    <a:pt x="104" y="77"/>
                  </a:lnTo>
                  <a:lnTo>
                    <a:pt x="98" y="0"/>
                  </a:lnTo>
                  <a:lnTo>
                    <a:pt x="28" y="7"/>
                  </a:lnTo>
                  <a:lnTo>
                    <a:pt x="0" y="70"/>
                  </a:lnTo>
                  <a:lnTo>
                    <a:pt x="21" y="119"/>
                  </a:lnTo>
                  <a:lnTo>
                    <a:pt x="35" y="132"/>
                  </a:lnTo>
                  <a:lnTo>
                    <a:pt x="56" y="13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1" name="Freeform 70"/>
            <p:cNvSpPr>
              <a:spLocks noChangeArrowheads="1"/>
            </p:cNvSpPr>
            <p:nvPr/>
          </p:nvSpPr>
          <p:spPr bwMode="auto">
            <a:xfrm>
              <a:off x="19372278" y="11284937"/>
              <a:ext cx="60062" cy="49710"/>
            </a:xfrm>
            <a:custGeom>
              <a:avLst/>
              <a:gdLst>
                <a:gd name="T0" fmla="*/ 84 w 126"/>
                <a:gd name="T1" fmla="*/ 91 h 105"/>
                <a:gd name="T2" fmla="*/ 0 w 126"/>
                <a:gd name="T3" fmla="*/ 42 h 105"/>
                <a:gd name="T4" fmla="*/ 0 w 126"/>
                <a:gd name="T5" fmla="*/ 35 h 105"/>
                <a:gd name="T6" fmla="*/ 21 w 126"/>
                <a:gd name="T7" fmla="*/ 0 h 105"/>
                <a:gd name="T8" fmla="*/ 125 w 126"/>
                <a:gd name="T9" fmla="*/ 7 h 105"/>
                <a:gd name="T10" fmla="*/ 125 w 126"/>
                <a:gd name="T11" fmla="*/ 49 h 105"/>
                <a:gd name="T12" fmla="*/ 125 w 126"/>
                <a:gd name="T13" fmla="*/ 104 h 105"/>
                <a:gd name="T14" fmla="*/ 84 w 126"/>
                <a:gd name="T15" fmla="*/ 9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05">
                  <a:moveTo>
                    <a:pt x="84" y="91"/>
                  </a:moveTo>
                  <a:lnTo>
                    <a:pt x="0" y="42"/>
                  </a:lnTo>
                  <a:lnTo>
                    <a:pt x="0" y="35"/>
                  </a:lnTo>
                  <a:lnTo>
                    <a:pt x="21" y="0"/>
                  </a:lnTo>
                  <a:lnTo>
                    <a:pt x="125" y="7"/>
                  </a:lnTo>
                  <a:lnTo>
                    <a:pt x="125" y="49"/>
                  </a:lnTo>
                  <a:lnTo>
                    <a:pt x="125" y="104"/>
                  </a:lnTo>
                  <a:lnTo>
                    <a:pt x="84" y="9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2" name="Freeform 71"/>
            <p:cNvSpPr>
              <a:spLocks noChangeArrowheads="1"/>
            </p:cNvSpPr>
            <p:nvPr/>
          </p:nvSpPr>
          <p:spPr bwMode="auto">
            <a:xfrm>
              <a:off x="19482045" y="11442353"/>
              <a:ext cx="49707" cy="62137"/>
            </a:xfrm>
            <a:custGeom>
              <a:avLst/>
              <a:gdLst>
                <a:gd name="T0" fmla="*/ 83 w 105"/>
                <a:gd name="T1" fmla="*/ 42 h 133"/>
                <a:gd name="T2" fmla="*/ 104 w 105"/>
                <a:gd name="T3" fmla="*/ 97 h 133"/>
                <a:gd name="T4" fmla="*/ 104 w 105"/>
                <a:gd name="T5" fmla="*/ 132 h 133"/>
                <a:gd name="T6" fmla="*/ 62 w 105"/>
                <a:gd name="T7" fmla="*/ 132 h 133"/>
                <a:gd name="T8" fmla="*/ 27 w 105"/>
                <a:gd name="T9" fmla="*/ 97 h 133"/>
                <a:gd name="T10" fmla="*/ 0 w 105"/>
                <a:gd name="T11" fmla="*/ 63 h 133"/>
                <a:gd name="T12" fmla="*/ 21 w 105"/>
                <a:gd name="T13" fmla="*/ 28 h 133"/>
                <a:gd name="T14" fmla="*/ 27 w 105"/>
                <a:gd name="T15" fmla="*/ 14 h 133"/>
                <a:gd name="T16" fmla="*/ 35 w 105"/>
                <a:gd name="T17" fmla="*/ 0 h 133"/>
                <a:gd name="T18" fmla="*/ 55 w 105"/>
                <a:gd name="T19" fmla="*/ 14 h 133"/>
                <a:gd name="T20" fmla="*/ 35 w 105"/>
                <a:gd name="T21" fmla="*/ 28 h 133"/>
                <a:gd name="T22" fmla="*/ 69 w 105"/>
                <a:gd name="T23" fmla="*/ 49 h 133"/>
                <a:gd name="T24" fmla="*/ 83 w 105"/>
                <a:gd name="T25" fmla="*/ 4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33">
                  <a:moveTo>
                    <a:pt x="83" y="42"/>
                  </a:moveTo>
                  <a:lnTo>
                    <a:pt x="104" y="97"/>
                  </a:lnTo>
                  <a:lnTo>
                    <a:pt x="104" y="132"/>
                  </a:lnTo>
                  <a:lnTo>
                    <a:pt x="62" y="132"/>
                  </a:lnTo>
                  <a:lnTo>
                    <a:pt x="27" y="97"/>
                  </a:lnTo>
                  <a:lnTo>
                    <a:pt x="0" y="63"/>
                  </a:lnTo>
                  <a:lnTo>
                    <a:pt x="21" y="28"/>
                  </a:lnTo>
                  <a:lnTo>
                    <a:pt x="27" y="14"/>
                  </a:lnTo>
                  <a:lnTo>
                    <a:pt x="35" y="0"/>
                  </a:lnTo>
                  <a:lnTo>
                    <a:pt x="55" y="14"/>
                  </a:lnTo>
                  <a:lnTo>
                    <a:pt x="35" y="28"/>
                  </a:lnTo>
                  <a:lnTo>
                    <a:pt x="69" y="49"/>
                  </a:lnTo>
                  <a:lnTo>
                    <a:pt x="83" y="4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3" name="Freeform 72"/>
            <p:cNvSpPr>
              <a:spLocks noChangeArrowheads="1"/>
            </p:cNvSpPr>
            <p:nvPr/>
          </p:nvSpPr>
          <p:spPr bwMode="auto">
            <a:xfrm>
              <a:off x="17423364" y="11935308"/>
              <a:ext cx="72489" cy="49710"/>
            </a:xfrm>
            <a:custGeom>
              <a:avLst/>
              <a:gdLst>
                <a:gd name="T0" fmla="*/ 146 w 154"/>
                <a:gd name="T1" fmla="*/ 98 h 106"/>
                <a:gd name="T2" fmla="*/ 153 w 154"/>
                <a:gd name="T3" fmla="*/ 49 h 106"/>
                <a:gd name="T4" fmla="*/ 125 w 154"/>
                <a:gd name="T5" fmla="*/ 42 h 106"/>
                <a:gd name="T6" fmla="*/ 97 w 154"/>
                <a:gd name="T7" fmla="*/ 35 h 106"/>
                <a:gd name="T8" fmla="*/ 84 w 154"/>
                <a:gd name="T9" fmla="*/ 42 h 106"/>
                <a:gd name="T10" fmla="*/ 49 w 154"/>
                <a:gd name="T11" fmla="*/ 0 h 106"/>
                <a:gd name="T12" fmla="*/ 21 w 154"/>
                <a:gd name="T13" fmla="*/ 8 h 106"/>
                <a:gd name="T14" fmla="*/ 0 w 154"/>
                <a:gd name="T15" fmla="*/ 28 h 106"/>
                <a:gd name="T16" fmla="*/ 0 w 154"/>
                <a:gd name="T17" fmla="*/ 35 h 106"/>
                <a:gd name="T18" fmla="*/ 21 w 154"/>
                <a:gd name="T19" fmla="*/ 77 h 106"/>
                <a:gd name="T20" fmla="*/ 77 w 154"/>
                <a:gd name="T21" fmla="*/ 70 h 106"/>
                <a:gd name="T22" fmla="*/ 77 w 154"/>
                <a:gd name="T23" fmla="*/ 77 h 106"/>
                <a:gd name="T24" fmla="*/ 97 w 154"/>
                <a:gd name="T25" fmla="*/ 70 h 106"/>
                <a:gd name="T26" fmla="*/ 132 w 154"/>
                <a:gd name="T27" fmla="*/ 105 h 106"/>
                <a:gd name="T28" fmla="*/ 146 w 154"/>
                <a:gd name="T29" fmla="*/ 9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106">
                  <a:moveTo>
                    <a:pt x="146" y="98"/>
                  </a:moveTo>
                  <a:lnTo>
                    <a:pt x="153" y="49"/>
                  </a:lnTo>
                  <a:lnTo>
                    <a:pt x="125" y="42"/>
                  </a:lnTo>
                  <a:lnTo>
                    <a:pt x="97" y="35"/>
                  </a:lnTo>
                  <a:lnTo>
                    <a:pt x="84" y="42"/>
                  </a:lnTo>
                  <a:lnTo>
                    <a:pt x="49" y="0"/>
                  </a:lnTo>
                  <a:lnTo>
                    <a:pt x="21" y="8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21" y="77"/>
                  </a:lnTo>
                  <a:lnTo>
                    <a:pt x="77" y="70"/>
                  </a:lnTo>
                  <a:lnTo>
                    <a:pt x="77" y="77"/>
                  </a:lnTo>
                  <a:lnTo>
                    <a:pt x="97" y="70"/>
                  </a:lnTo>
                  <a:lnTo>
                    <a:pt x="132" y="105"/>
                  </a:lnTo>
                  <a:lnTo>
                    <a:pt x="146" y="9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4" name="Freeform 33"/>
            <p:cNvSpPr>
              <a:spLocks noChangeArrowheads="1"/>
            </p:cNvSpPr>
            <p:nvPr/>
          </p:nvSpPr>
          <p:spPr bwMode="auto">
            <a:xfrm>
              <a:off x="17236964" y="11889742"/>
              <a:ext cx="45565" cy="45567"/>
            </a:xfrm>
            <a:custGeom>
              <a:avLst/>
              <a:gdLst>
                <a:gd name="T0" fmla="*/ 55 w 98"/>
                <a:gd name="T1" fmla="*/ 0 h 98"/>
                <a:gd name="T2" fmla="*/ 62 w 98"/>
                <a:gd name="T3" fmla="*/ 42 h 98"/>
                <a:gd name="T4" fmla="*/ 90 w 98"/>
                <a:gd name="T5" fmla="*/ 84 h 98"/>
                <a:gd name="T6" fmla="*/ 97 w 98"/>
                <a:gd name="T7" fmla="*/ 97 h 98"/>
                <a:gd name="T8" fmla="*/ 20 w 98"/>
                <a:gd name="T9" fmla="*/ 70 h 98"/>
                <a:gd name="T10" fmla="*/ 13 w 98"/>
                <a:gd name="T11" fmla="*/ 14 h 98"/>
                <a:gd name="T12" fmla="*/ 0 w 98"/>
                <a:gd name="T13" fmla="*/ 0 h 98"/>
                <a:gd name="T14" fmla="*/ 55 w 98"/>
                <a:gd name="T15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98">
                  <a:moveTo>
                    <a:pt x="55" y="0"/>
                  </a:moveTo>
                  <a:lnTo>
                    <a:pt x="62" y="42"/>
                  </a:lnTo>
                  <a:lnTo>
                    <a:pt x="90" y="84"/>
                  </a:lnTo>
                  <a:lnTo>
                    <a:pt x="97" y="97"/>
                  </a:lnTo>
                  <a:lnTo>
                    <a:pt x="20" y="70"/>
                  </a:lnTo>
                  <a:lnTo>
                    <a:pt x="13" y="14"/>
                  </a:lnTo>
                  <a:lnTo>
                    <a:pt x="0" y="0"/>
                  </a:lnTo>
                  <a:lnTo>
                    <a:pt x="55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5" name="Freeform 34"/>
            <p:cNvSpPr>
              <a:spLocks noChangeArrowheads="1"/>
            </p:cNvSpPr>
            <p:nvPr/>
          </p:nvSpPr>
          <p:spPr bwMode="auto">
            <a:xfrm>
              <a:off x="19676731" y="11050887"/>
              <a:ext cx="39352" cy="39353"/>
            </a:xfrm>
            <a:custGeom>
              <a:avLst/>
              <a:gdLst>
                <a:gd name="T0" fmla="*/ 42 w 84"/>
                <a:gd name="T1" fmla="*/ 84 h 85"/>
                <a:gd name="T2" fmla="*/ 70 w 84"/>
                <a:gd name="T3" fmla="*/ 49 h 85"/>
                <a:gd name="T4" fmla="*/ 83 w 84"/>
                <a:gd name="T5" fmla="*/ 14 h 85"/>
                <a:gd name="T6" fmla="*/ 35 w 84"/>
                <a:gd name="T7" fmla="*/ 0 h 85"/>
                <a:gd name="T8" fmla="*/ 0 w 84"/>
                <a:gd name="T9" fmla="*/ 49 h 85"/>
                <a:gd name="T10" fmla="*/ 42 w 84"/>
                <a:gd name="T11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5">
                  <a:moveTo>
                    <a:pt x="42" y="84"/>
                  </a:moveTo>
                  <a:lnTo>
                    <a:pt x="70" y="49"/>
                  </a:lnTo>
                  <a:lnTo>
                    <a:pt x="83" y="14"/>
                  </a:lnTo>
                  <a:lnTo>
                    <a:pt x="35" y="0"/>
                  </a:lnTo>
                  <a:lnTo>
                    <a:pt x="0" y="49"/>
                  </a:lnTo>
                  <a:lnTo>
                    <a:pt x="42" y="8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6" name="Freeform 35"/>
            <p:cNvSpPr>
              <a:spLocks noChangeArrowheads="1"/>
            </p:cNvSpPr>
            <p:nvPr/>
          </p:nvSpPr>
          <p:spPr bwMode="auto">
            <a:xfrm>
              <a:off x="18104759" y="11142022"/>
              <a:ext cx="33137" cy="31068"/>
            </a:xfrm>
            <a:custGeom>
              <a:avLst/>
              <a:gdLst>
                <a:gd name="T0" fmla="*/ 0 w 71"/>
                <a:gd name="T1" fmla="*/ 63 h 64"/>
                <a:gd name="T2" fmla="*/ 49 w 71"/>
                <a:gd name="T3" fmla="*/ 56 h 64"/>
                <a:gd name="T4" fmla="*/ 70 w 71"/>
                <a:gd name="T5" fmla="*/ 21 h 64"/>
                <a:gd name="T6" fmla="*/ 35 w 71"/>
                <a:gd name="T7" fmla="*/ 0 h 64"/>
                <a:gd name="T8" fmla="*/ 0 w 71"/>
                <a:gd name="T9" fmla="*/ 21 h 64"/>
                <a:gd name="T10" fmla="*/ 0 w 71"/>
                <a:gd name="T11" fmla="*/ 56 h 64"/>
                <a:gd name="T12" fmla="*/ 0 w 71"/>
                <a:gd name="T13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64">
                  <a:moveTo>
                    <a:pt x="0" y="63"/>
                  </a:moveTo>
                  <a:lnTo>
                    <a:pt x="49" y="56"/>
                  </a:lnTo>
                  <a:lnTo>
                    <a:pt x="70" y="21"/>
                  </a:lnTo>
                  <a:lnTo>
                    <a:pt x="35" y="0"/>
                  </a:lnTo>
                  <a:lnTo>
                    <a:pt x="0" y="21"/>
                  </a:lnTo>
                  <a:lnTo>
                    <a:pt x="0" y="56"/>
                  </a:lnTo>
                  <a:lnTo>
                    <a:pt x="0" y="63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7" name="Freeform 36"/>
            <p:cNvSpPr>
              <a:spLocks noChangeArrowheads="1"/>
            </p:cNvSpPr>
            <p:nvPr/>
          </p:nvSpPr>
          <p:spPr bwMode="auto">
            <a:xfrm>
              <a:off x="19173452" y="11284937"/>
              <a:ext cx="39350" cy="26927"/>
            </a:xfrm>
            <a:custGeom>
              <a:avLst/>
              <a:gdLst>
                <a:gd name="T0" fmla="*/ 69 w 84"/>
                <a:gd name="T1" fmla="*/ 21 h 57"/>
                <a:gd name="T2" fmla="*/ 83 w 84"/>
                <a:gd name="T3" fmla="*/ 49 h 57"/>
                <a:gd name="T4" fmla="*/ 83 w 84"/>
                <a:gd name="T5" fmla="*/ 56 h 57"/>
                <a:gd name="T6" fmla="*/ 49 w 84"/>
                <a:gd name="T7" fmla="*/ 49 h 57"/>
                <a:gd name="T8" fmla="*/ 7 w 84"/>
                <a:gd name="T9" fmla="*/ 35 h 57"/>
                <a:gd name="T10" fmla="*/ 0 w 84"/>
                <a:gd name="T11" fmla="*/ 0 h 57"/>
                <a:gd name="T12" fmla="*/ 55 w 84"/>
                <a:gd name="T13" fmla="*/ 0 h 57"/>
                <a:gd name="T14" fmla="*/ 69 w 84"/>
                <a:gd name="T15" fmla="*/ 2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57">
                  <a:moveTo>
                    <a:pt x="69" y="21"/>
                  </a:moveTo>
                  <a:lnTo>
                    <a:pt x="83" y="49"/>
                  </a:lnTo>
                  <a:lnTo>
                    <a:pt x="83" y="56"/>
                  </a:lnTo>
                  <a:lnTo>
                    <a:pt x="49" y="49"/>
                  </a:lnTo>
                  <a:lnTo>
                    <a:pt x="7" y="35"/>
                  </a:lnTo>
                  <a:lnTo>
                    <a:pt x="0" y="0"/>
                  </a:lnTo>
                  <a:lnTo>
                    <a:pt x="55" y="0"/>
                  </a:lnTo>
                  <a:lnTo>
                    <a:pt x="69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8" name="Freeform 37"/>
            <p:cNvSpPr>
              <a:spLocks noChangeArrowheads="1"/>
            </p:cNvSpPr>
            <p:nvPr/>
          </p:nvSpPr>
          <p:spPr bwMode="auto">
            <a:xfrm>
              <a:off x="17539346" y="11980875"/>
              <a:ext cx="20711" cy="62137"/>
            </a:xfrm>
            <a:custGeom>
              <a:avLst/>
              <a:gdLst>
                <a:gd name="T0" fmla="*/ 28 w 43"/>
                <a:gd name="T1" fmla="*/ 28 h 133"/>
                <a:gd name="T2" fmla="*/ 42 w 43"/>
                <a:gd name="T3" fmla="*/ 14 h 133"/>
                <a:gd name="T4" fmla="*/ 42 w 43"/>
                <a:gd name="T5" fmla="*/ 0 h 133"/>
                <a:gd name="T6" fmla="*/ 0 w 43"/>
                <a:gd name="T7" fmla="*/ 35 h 133"/>
                <a:gd name="T8" fmla="*/ 35 w 43"/>
                <a:gd name="T9" fmla="*/ 132 h 133"/>
                <a:gd name="T10" fmla="*/ 35 w 43"/>
                <a:gd name="T11" fmla="*/ 62 h 133"/>
                <a:gd name="T12" fmla="*/ 28 w 43"/>
                <a:gd name="T13" fmla="*/ 28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33">
                  <a:moveTo>
                    <a:pt x="28" y="28"/>
                  </a:moveTo>
                  <a:lnTo>
                    <a:pt x="42" y="14"/>
                  </a:lnTo>
                  <a:lnTo>
                    <a:pt x="42" y="0"/>
                  </a:lnTo>
                  <a:lnTo>
                    <a:pt x="0" y="35"/>
                  </a:lnTo>
                  <a:lnTo>
                    <a:pt x="35" y="132"/>
                  </a:lnTo>
                  <a:lnTo>
                    <a:pt x="35" y="62"/>
                  </a:lnTo>
                  <a:lnTo>
                    <a:pt x="28" y="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79" name="Freeform 38"/>
            <p:cNvSpPr>
              <a:spLocks noChangeArrowheads="1"/>
            </p:cNvSpPr>
            <p:nvPr/>
          </p:nvSpPr>
          <p:spPr bwMode="auto">
            <a:xfrm>
              <a:off x="17462716" y="11860743"/>
              <a:ext cx="20711" cy="35212"/>
            </a:xfrm>
            <a:custGeom>
              <a:avLst/>
              <a:gdLst>
                <a:gd name="T0" fmla="*/ 6 w 42"/>
                <a:gd name="T1" fmla="*/ 76 h 77"/>
                <a:gd name="T2" fmla="*/ 41 w 42"/>
                <a:gd name="T3" fmla="*/ 69 h 77"/>
                <a:gd name="T4" fmla="*/ 13 w 42"/>
                <a:gd name="T5" fmla="*/ 0 h 77"/>
                <a:gd name="T6" fmla="*/ 0 w 42"/>
                <a:gd name="T7" fmla="*/ 27 h 77"/>
                <a:gd name="T8" fmla="*/ 6 w 42"/>
                <a:gd name="T9" fmla="*/ 7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77">
                  <a:moveTo>
                    <a:pt x="6" y="76"/>
                  </a:moveTo>
                  <a:lnTo>
                    <a:pt x="41" y="69"/>
                  </a:lnTo>
                  <a:lnTo>
                    <a:pt x="13" y="0"/>
                  </a:lnTo>
                  <a:lnTo>
                    <a:pt x="0" y="27"/>
                  </a:lnTo>
                  <a:lnTo>
                    <a:pt x="6" y="7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0" name="Freeform 39"/>
            <p:cNvSpPr>
              <a:spLocks noChangeArrowheads="1"/>
            </p:cNvSpPr>
            <p:nvPr/>
          </p:nvSpPr>
          <p:spPr bwMode="auto">
            <a:xfrm>
              <a:off x="16569126" y="14113249"/>
              <a:ext cx="31065" cy="26927"/>
            </a:xfrm>
            <a:custGeom>
              <a:avLst/>
              <a:gdLst>
                <a:gd name="T0" fmla="*/ 21 w 64"/>
                <a:gd name="T1" fmla="*/ 56 h 57"/>
                <a:gd name="T2" fmla="*/ 63 w 64"/>
                <a:gd name="T3" fmla="*/ 35 h 57"/>
                <a:gd name="T4" fmla="*/ 42 w 64"/>
                <a:gd name="T5" fmla="*/ 0 h 57"/>
                <a:gd name="T6" fmla="*/ 0 w 64"/>
                <a:gd name="T7" fmla="*/ 14 h 57"/>
                <a:gd name="T8" fmla="*/ 21 w 64"/>
                <a:gd name="T9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7">
                  <a:moveTo>
                    <a:pt x="21" y="56"/>
                  </a:moveTo>
                  <a:lnTo>
                    <a:pt x="63" y="35"/>
                  </a:lnTo>
                  <a:lnTo>
                    <a:pt x="42" y="0"/>
                  </a:lnTo>
                  <a:lnTo>
                    <a:pt x="0" y="14"/>
                  </a:lnTo>
                  <a:lnTo>
                    <a:pt x="21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1" name="Freeform 40"/>
            <p:cNvSpPr>
              <a:spLocks noChangeArrowheads="1"/>
            </p:cNvSpPr>
            <p:nvPr/>
          </p:nvSpPr>
          <p:spPr bwMode="auto">
            <a:xfrm>
              <a:off x="19020190" y="11311865"/>
              <a:ext cx="16569" cy="26926"/>
            </a:xfrm>
            <a:custGeom>
              <a:avLst/>
              <a:gdLst>
                <a:gd name="T0" fmla="*/ 28 w 35"/>
                <a:gd name="T1" fmla="*/ 56 h 57"/>
                <a:gd name="T2" fmla="*/ 34 w 35"/>
                <a:gd name="T3" fmla="*/ 0 h 57"/>
                <a:gd name="T4" fmla="*/ 0 w 35"/>
                <a:gd name="T5" fmla="*/ 21 h 57"/>
                <a:gd name="T6" fmla="*/ 7 w 35"/>
                <a:gd name="T7" fmla="*/ 56 h 57"/>
                <a:gd name="T8" fmla="*/ 28 w 35"/>
                <a:gd name="T9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7">
                  <a:moveTo>
                    <a:pt x="28" y="56"/>
                  </a:moveTo>
                  <a:lnTo>
                    <a:pt x="34" y="0"/>
                  </a:lnTo>
                  <a:lnTo>
                    <a:pt x="0" y="21"/>
                  </a:lnTo>
                  <a:lnTo>
                    <a:pt x="7" y="56"/>
                  </a:lnTo>
                  <a:lnTo>
                    <a:pt x="28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2" name="Freeform 41"/>
            <p:cNvSpPr>
              <a:spLocks noChangeArrowheads="1"/>
            </p:cNvSpPr>
            <p:nvPr/>
          </p:nvSpPr>
          <p:spPr bwMode="auto">
            <a:xfrm>
              <a:off x="19575247" y="11220729"/>
              <a:ext cx="14497" cy="22783"/>
            </a:xfrm>
            <a:custGeom>
              <a:avLst/>
              <a:gdLst>
                <a:gd name="T0" fmla="*/ 0 w 29"/>
                <a:gd name="T1" fmla="*/ 0 h 50"/>
                <a:gd name="T2" fmla="*/ 28 w 29"/>
                <a:gd name="T3" fmla="*/ 0 h 50"/>
                <a:gd name="T4" fmla="*/ 21 w 29"/>
                <a:gd name="T5" fmla="*/ 28 h 50"/>
                <a:gd name="T6" fmla="*/ 0 w 29"/>
                <a:gd name="T7" fmla="*/ 49 h 50"/>
                <a:gd name="T8" fmla="*/ 0 w 29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0">
                  <a:moveTo>
                    <a:pt x="0" y="0"/>
                  </a:moveTo>
                  <a:lnTo>
                    <a:pt x="28" y="0"/>
                  </a:lnTo>
                  <a:lnTo>
                    <a:pt x="21" y="28"/>
                  </a:lnTo>
                  <a:lnTo>
                    <a:pt x="0" y="49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3" name="Freeform 42"/>
            <p:cNvSpPr>
              <a:spLocks noChangeArrowheads="1"/>
            </p:cNvSpPr>
            <p:nvPr/>
          </p:nvSpPr>
          <p:spPr bwMode="auto">
            <a:xfrm>
              <a:off x="17570413" y="12018159"/>
              <a:ext cx="4142" cy="4142"/>
            </a:xfrm>
            <a:custGeom>
              <a:avLst/>
              <a:gdLst>
                <a:gd name="T0" fmla="*/ 0 w 8"/>
                <a:gd name="T1" fmla="*/ 0 h 8"/>
                <a:gd name="T2" fmla="*/ 7 w 8"/>
                <a:gd name="T3" fmla="*/ 7 h 8"/>
                <a:gd name="T4" fmla="*/ 0 w 8"/>
                <a:gd name="T5" fmla="*/ 7 h 8"/>
                <a:gd name="T6" fmla="*/ 0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7" y="7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4" name="Freeform 43"/>
            <p:cNvSpPr>
              <a:spLocks noChangeArrowheads="1"/>
            </p:cNvSpPr>
            <p:nvPr/>
          </p:nvSpPr>
          <p:spPr bwMode="auto">
            <a:xfrm>
              <a:off x="17560057" y="12001589"/>
              <a:ext cx="10356" cy="4142"/>
            </a:xfrm>
            <a:custGeom>
              <a:avLst/>
              <a:gdLst>
                <a:gd name="T0" fmla="*/ 0 w 22"/>
                <a:gd name="T1" fmla="*/ 0 h 8"/>
                <a:gd name="T2" fmla="*/ 21 w 22"/>
                <a:gd name="T3" fmla="*/ 7 h 8"/>
                <a:gd name="T4" fmla="*/ 0 w 22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8">
                  <a:moveTo>
                    <a:pt x="0" y="0"/>
                  </a:moveTo>
                  <a:lnTo>
                    <a:pt x="21" y="7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5" name="Freeform 44"/>
            <p:cNvSpPr>
              <a:spLocks noChangeArrowheads="1"/>
            </p:cNvSpPr>
            <p:nvPr/>
          </p:nvSpPr>
          <p:spPr bwMode="auto">
            <a:xfrm>
              <a:off x="19643593" y="13233980"/>
              <a:ext cx="4142" cy="4142"/>
            </a:xfrm>
            <a:custGeom>
              <a:avLst/>
              <a:gdLst>
                <a:gd name="T0" fmla="*/ 0 w 7"/>
                <a:gd name="T1" fmla="*/ 7 h 8"/>
                <a:gd name="T2" fmla="*/ 6 w 7"/>
                <a:gd name="T3" fmla="*/ 7 h 8"/>
                <a:gd name="T4" fmla="*/ 0 w 7"/>
                <a:gd name="T5" fmla="*/ 0 h 8"/>
                <a:gd name="T6" fmla="*/ 0 w 7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8">
                  <a:moveTo>
                    <a:pt x="0" y="7"/>
                  </a:moveTo>
                  <a:lnTo>
                    <a:pt x="6" y="7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6" name="Freeform 45"/>
            <p:cNvSpPr>
              <a:spLocks noChangeArrowheads="1"/>
            </p:cNvSpPr>
            <p:nvPr/>
          </p:nvSpPr>
          <p:spPr bwMode="auto">
            <a:xfrm>
              <a:off x="19618740" y="11197946"/>
              <a:ext cx="4142" cy="4142"/>
            </a:xfrm>
            <a:custGeom>
              <a:avLst/>
              <a:gdLst>
                <a:gd name="T0" fmla="*/ 0 w 8"/>
                <a:gd name="T1" fmla="*/ 7 h 8"/>
                <a:gd name="T2" fmla="*/ 7 w 8"/>
                <a:gd name="T3" fmla="*/ 0 h 8"/>
                <a:gd name="T4" fmla="*/ 0 w 8"/>
                <a:gd name="T5" fmla="*/ 0 h 8"/>
                <a:gd name="T6" fmla="*/ 0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7" name="Freeform 46"/>
            <p:cNvSpPr>
              <a:spLocks noChangeArrowheads="1"/>
            </p:cNvSpPr>
            <p:nvPr/>
          </p:nvSpPr>
          <p:spPr bwMode="auto">
            <a:xfrm>
              <a:off x="20016392" y="9677651"/>
              <a:ext cx="1219884" cy="2294939"/>
            </a:xfrm>
            <a:custGeom>
              <a:avLst/>
              <a:gdLst>
                <a:gd name="T0" fmla="*/ 2519 w 2596"/>
                <a:gd name="T1" fmla="*/ 1627 h 4884"/>
                <a:gd name="T2" fmla="*/ 2435 w 2596"/>
                <a:gd name="T3" fmla="*/ 1961 h 4884"/>
                <a:gd name="T4" fmla="*/ 2456 w 2596"/>
                <a:gd name="T5" fmla="*/ 2309 h 4884"/>
                <a:gd name="T6" fmla="*/ 2568 w 2596"/>
                <a:gd name="T7" fmla="*/ 2441 h 4884"/>
                <a:gd name="T8" fmla="*/ 2526 w 2596"/>
                <a:gd name="T9" fmla="*/ 2539 h 4884"/>
                <a:gd name="T10" fmla="*/ 2408 w 2596"/>
                <a:gd name="T11" fmla="*/ 2713 h 4884"/>
                <a:gd name="T12" fmla="*/ 2234 w 2596"/>
                <a:gd name="T13" fmla="*/ 2643 h 4884"/>
                <a:gd name="T14" fmla="*/ 1969 w 2596"/>
                <a:gd name="T15" fmla="*/ 2706 h 4884"/>
                <a:gd name="T16" fmla="*/ 1614 w 2596"/>
                <a:gd name="T17" fmla="*/ 2907 h 4884"/>
                <a:gd name="T18" fmla="*/ 1531 w 2596"/>
                <a:gd name="T19" fmla="*/ 3074 h 4884"/>
                <a:gd name="T20" fmla="*/ 1531 w 2596"/>
                <a:gd name="T21" fmla="*/ 3207 h 4884"/>
                <a:gd name="T22" fmla="*/ 1538 w 2596"/>
                <a:gd name="T23" fmla="*/ 3367 h 4884"/>
                <a:gd name="T24" fmla="*/ 1573 w 2596"/>
                <a:gd name="T25" fmla="*/ 3666 h 4884"/>
                <a:gd name="T26" fmla="*/ 1468 w 2596"/>
                <a:gd name="T27" fmla="*/ 3867 h 4884"/>
                <a:gd name="T28" fmla="*/ 1148 w 2596"/>
                <a:gd name="T29" fmla="*/ 4055 h 4884"/>
                <a:gd name="T30" fmla="*/ 995 w 2596"/>
                <a:gd name="T31" fmla="*/ 4264 h 4884"/>
                <a:gd name="T32" fmla="*/ 877 w 2596"/>
                <a:gd name="T33" fmla="*/ 4445 h 4884"/>
                <a:gd name="T34" fmla="*/ 724 w 2596"/>
                <a:gd name="T35" fmla="*/ 4855 h 4884"/>
                <a:gd name="T36" fmla="*/ 439 w 2596"/>
                <a:gd name="T37" fmla="*/ 4855 h 4884"/>
                <a:gd name="T38" fmla="*/ 188 w 2596"/>
                <a:gd name="T39" fmla="*/ 4855 h 4884"/>
                <a:gd name="T40" fmla="*/ 28 w 2596"/>
                <a:gd name="T41" fmla="*/ 4716 h 4884"/>
                <a:gd name="T42" fmla="*/ 28 w 2596"/>
                <a:gd name="T43" fmla="*/ 4542 h 4884"/>
                <a:gd name="T44" fmla="*/ 28 w 2596"/>
                <a:gd name="T45" fmla="*/ 4333 h 4884"/>
                <a:gd name="T46" fmla="*/ 147 w 2596"/>
                <a:gd name="T47" fmla="*/ 4146 h 4884"/>
                <a:gd name="T48" fmla="*/ 327 w 2596"/>
                <a:gd name="T49" fmla="*/ 4013 h 4884"/>
                <a:gd name="T50" fmla="*/ 404 w 2596"/>
                <a:gd name="T51" fmla="*/ 3784 h 4884"/>
                <a:gd name="T52" fmla="*/ 453 w 2596"/>
                <a:gd name="T53" fmla="*/ 3457 h 4884"/>
                <a:gd name="T54" fmla="*/ 397 w 2596"/>
                <a:gd name="T55" fmla="*/ 3227 h 4884"/>
                <a:gd name="T56" fmla="*/ 599 w 2596"/>
                <a:gd name="T57" fmla="*/ 3109 h 4884"/>
                <a:gd name="T58" fmla="*/ 821 w 2596"/>
                <a:gd name="T59" fmla="*/ 3116 h 4884"/>
                <a:gd name="T60" fmla="*/ 961 w 2596"/>
                <a:gd name="T61" fmla="*/ 2921 h 4884"/>
                <a:gd name="T62" fmla="*/ 947 w 2596"/>
                <a:gd name="T63" fmla="*/ 2643 h 4884"/>
                <a:gd name="T64" fmla="*/ 856 w 2596"/>
                <a:gd name="T65" fmla="*/ 2573 h 4884"/>
                <a:gd name="T66" fmla="*/ 717 w 2596"/>
                <a:gd name="T67" fmla="*/ 2177 h 4884"/>
                <a:gd name="T68" fmla="*/ 696 w 2596"/>
                <a:gd name="T69" fmla="*/ 1892 h 4884"/>
                <a:gd name="T70" fmla="*/ 564 w 2596"/>
                <a:gd name="T71" fmla="*/ 1488 h 4884"/>
                <a:gd name="T72" fmla="*/ 432 w 2596"/>
                <a:gd name="T73" fmla="*/ 1314 h 4884"/>
                <a:gd name="T74" fmla="*/ 321 w 2596"/>
                <a:gd name="T75" fmla="*/ 1029 h 4884"/>
                <a:gd name="T76" fmla="*/ 286 w 2596"/>
                <a:gd name="T77" fmla="*/ 841 h 4884"/>
                <a:gd name="T78" fmla="*/ 265 w 2596"/>
                <a:gd name="T79" fmla="*/ 626 h 4884"/>
                <a:gd name="T80" fmla="*/ 237 w 2596"/>
                <a:gd name="T81" fmla="*/ 438 h 4884"/>
                <a:gd name="T82" fmla="*/ 369 w 2596"/>
                <a:gd name="T83" fmla="*/ 313 h 4884"/>
                <a:gd name="T84" fmla="*/ 494 w 2596"/>
                <a:gd name="T85" fmla="*/ 313 h 4884"/>
                <a:gd name="T86" fmla="*/ 634 w 2596"/>
                <a:gd name="T87" fmla="*/ 320 h 4884"/>
                <a:gd name="T88" fmla="*/ 634 w 2596"/>
                <a:gd name="T89" fmla="*/ 389 h 4884"/>
                <a:gd name="T90" fmla="*/ 689 w 2596"/>
                <a:gd name="T91" fmla="*/ 549 h 4884"/>
                <a:gd name="T92" fmla="*/ 849 w 2596"/>
                <a:gd name="T93" fmla="*/ 521 h 4884"/>
                <a:gd name="T94" fmla="*/ 961 w 2596"/>
                <a:gd name="T95" fmla="*/ 542 h 4884"/>
                <a:gd name="T96" fmla="*/ 1128 w 2596"/>
                <a:gd name="T97" fmla="*/ 473 h 4884"/>
                <a:gd name="T98" fmla="*/ 1211 w 2596"/>
                <a:gd name="T99" fmla="*/ 487 h 4884"/>
                <a:gd name="T100" fmla="*/ 1239 w 2596"/>
                <a:gd name="T101" fmla="*/ 320 h 4884"/>
                <a:gd name="T102" fmla="*/ 1274 w 2596"/>
                <a:gd name="T103" fmla="*/ 187 h 4884"/>
                <a:gd name="T104" fmla="*/ 1336 w 2596"/>
                <a:gd name="T105" fmla="*/ 27 h 4884"/>
                <a:gd name="T106" fmla="*/ 1454 w 2596"/>
                <a:gd name="T107" fmla="*/ 34 h 4884"/>
                <a:gd name="T108" fmla="*/ 1649 w 2596"/>
                <a:gd name="T109" fmla="*/ 34 h 4884"/>
                <a:gd name="T110" fmla="*/ 1607 w 2596"/>
                <a:gd name="T111" fmla="*/ 208 h 4884"/>
                <a:gd name="T112" fmla="*/ 1566 w 2596"/>
                <a:gd name="T113" fmla="*/ 514 h 4884"/>
                <a:gd name="T114" fmla="*/ 1413 w 2596"/>
                <a:gd name="T115" fmla="*/ 786 h 4884"/>
                <a:gd name="T116" fmla="*/ 1566 w 2596"/>
                <a:gd name="T117" fmla="*/ 1106 h 4884"/>
                <a:gd name="T118" fmla="*/ 1962 w 2596"/>
                <a:gd name="T119" fmla="*/ 1210 h 4884"/>
                <a:gd name="T120" fmla="*/ 2143 w 2596"/>
                <a:gd name="T121" fmla="*/ 1391 h 4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6" h="4884">
                  <a:moveTo>
                    <a:pt x="2303" y="1447"/>
                  </a:moveTo>
                  <a:lnTo>
                    <a:pt x="2352" y="1544"/>
                  </a:lnTo>
                  <a:lnTo>
                    <a:pt x="2421" y="1593"/>
                  </a:lnTo>
                  <a:lnTo>
                    <a:pt x="2519" y="1627"/>
                  </a:lnTo>
                  <a:lnTo>
                    <a:pt x="2505" y="1655"/>
                  </a:lnTo>
                  <a:lnTo>
                    <a:pt x="2449" y="1801"/>
                  </a:lnTo>
                  <a:lnTo>
                    <a:pt x="2435" y="1864"/>
                  </a:lnTo>
                  <a:lnTo>
                    <a:pt x="2435" y="1961"/>
                  </a:lnTo>
                  <a:lnTo>
                    <a:pt x="2491" y="2031"/>
                  </a:lnTo>
                  <a:lnTo>
                    <a:pt x="2498" y="2079"/>
                  </a:lnTo>
                  <a:lnTo>
                    <a:pt x="2449" y="2233"/>
                  </a:lnTo>
                  <a:lnTo>
                    <a:pt x="2456" y="2309"/>
                  </a:lnTo>
                  <a:lnTo>
                    <a:pt x="2484" y="2323"/>
                  </a:lnTo>
                  <a:lnTo>
                    <a:pt x="2484" y="2330"/>
                  </a:lnTo>
                  <a:lnTo>
                    <a:pt x="2491" y="2386"/>
                  </a:lnTo>
                  <a:lnTo>
                    <a:pt x="2568" y="2441"/>
                  </a:lnTo>
                  <a:lnTo>
                    <a:pt x="2595" y="2448"/>
                  </a:lnTo>
                  <a:lnTo>
                    <a:pt x="2547" y="2490"/>
                  </a:lnTo>
                  <a:lnTo>
                    <a:pt x="2533" y="2511"/>
                  </a:lnTo>
                  <a:lnTo>
                    <a:pt x="2526" y="2539"/>
                  </a:lnTo>
                  <a:lnTo>
                    <a:pt x="2533" y="2594"/>
                  </a:lnTo>
                  <a:lnTo>
                    <a:pt x="2519" y="2622"/>
                  </a:lnTo>
                  <a:lnTo>
                    <a:pt x="2421" y="2740"/>
                  </a:lnTo>
                  <a:lnTo>
                    <a:pt x="2408" y="2713"/>
                  </a:lnTo>
                  <a:lnTo>
                    <a:pt x="2331" y="2678"/>
                  </a:lnTo>
                  <a:lnTo>
                    <a:pt x="2303" y="2706"/>
                  </a:lnTo>
                  <a:lnTo>
                    <a:pt x="2268" y="2685"/>
                  </a:lnTo>
                  <a:lnTo>
                    <a:pt x="2234" y="2643"/>
                  </a:lnTo>
                  <a:lnTo>
                    <a:pt x="2227" y="2643"/>
                  </a:lnTo>
                  <a:lnTo>
                    <a:pt x="2087" y="2657"/>
                  </a:lnTo>
                  <a:lnTo>
                    <a:pt x="2060" y="2671"/>
                  </a:lnTo>
                  <a:lnTo>
                    <a:pt x="1969" y="2706"/>
                  </a:lnTo>
                  <a:lnTo>
                    <a:pt x="1928" y="2719"/>
                  </a:lnTo>
                  <a:lnTo>
                    <a:pt x="1781" y="2803"/>
                  </a:lnTo>
                  <a:lnTo>
                    <a:pt x="1740" y="2838"/>
                  </a:lnTo>
                  <a:lnTo>
                    <a:pt x="1614" y="2907"/>
                  </a:lnTo>
                  <a:lnTo>
                    <a:pt x="1580" y="2970"/>
                  </a:lnTo>
                  <a:lnTo>
                    <a:pt x="1552" y="3012"/>
                  </a:lnTo>
                  <a:lnTo>
                    <a:pt x="1552" y="3019"/>
                  </a:lnTo>
                  <a:lnTo>
                    <a:pt x="1531" y="3074"/>
                  </a:lnTo>
                  <a:lnTo>
                    <a:pt x="1510" y="3102"/>
                  </a:lnTo>
                  <a:lnTo>
                    <a:pt x="1489" y="3137"/>
                  </a:lnTo>
                  <a:lnTo>
                    <a:pt x="1517" y="3179"/>
                  </a:lnTo>
                  <a:lnTo>
                    <a:pt x="1531" y="3207"/>
                  </a:lnTo>
                  <a:lnTo>
                    <a:pt x="1531" y="3234"/>
                  </a:lnTo>
                  <a:lnTo>
                    <a:pt x="1531" y="3262"/>
                  </a:lnTo>
                  <a:lnTo>
                    <a:pt x="1531" y="3297"/>
                  </a:lnTo>
                  <a:lnTo>
                    <a:pt x="1538" y="3367"/>
                  </a:lnTo>
                  <a:lnTo>
                    <a:pt x="1545" y="3401"/>
                  </a:lnTo>
                  <a:lnTo>
                    <a:pt x="1552" y="3471"/>
                  </a:lnTo>
                  <a:lnTo>
                    <a:pt x="1566" y="3596"/>
                  </a:lnTo>
                  <a:lnTo>
                    <a:pt x="1573" y="3666"/>
                  </a:lnTo>
                  <a:lnTo>
                    <a:pt x="1552" y="3763"/>
                  </a:lnTo>
                  <a:lnTo>
                    <a:pt x="1545" y="3770"/>
                  </a:lnTo>
                  <a:lnTo>
                    <a:pt x="1510" y="3819"/>
                  </a:lnTo>
                  <a:lnTo>
                    <a:pt x="1468" y="3867"/>
                  </a:lnTo>
                  <a:lnTo>
                    <a:pt x="1413" y="3923"/>
                  </a:lnTo>
                  <a:lnTo>
                    <a:pt x="1343" y="3965"/>
                  </a:lnTo>
                  <a:lnTo>
                    <a:pt x="1190" y="4027"/>
                  </a:lnTo>
                  <a:lnTo>
                    <a:pt x="1148" y="4055"/>
                  </a:lnTo>
                  <a:lnTo>
                    <a:pt x="1141" y="4062"/>
                  </a:lnTo>
                  <a:lnTo>
                    <a:pt x="1079" y="4153"/>
                  </a:lnTo>
                  <a:lnTo>
                    <a:pt x="1009" y="4250"/>
                  </a:lnTo>
                  <a:lnTo>
                    <a:pt x="995" y="4264"/>
                  </a:lnTo>
                  <a:lnTo>
                    <a:pt x="982" y="4285"/>
                  </a:lnTo>
                  <a:lnTo>
                    <a:pt x="926" y="4347"/>
                  </a:lnTo>
                  <a:lnTo>
                    <a:pt x="884" y="4417"/>
                  </a:lnTo>
                  <a:lnTo>
                    <a:pt x="877" y="4445"/>
                  </a:lnTo>
                  <a:lnTo>
                    <a:pt x="835" y="4653"/>
                  </a:lnTo>
                  <a:lnTo>
                    <a:pt x="821" y="4702"/>
                  </a:lnTo>
                  <a:lnTo>
                    <a:pt x="801" y="4744"/>
                  </a:lnTo>
                  <a:lnTo>
                    <a:pt x="724" y="4855"/>
                  </a:lnTo>
                  <a:lnTo>
                    <a:pt x="620" y="4876"/>
                  </a:lnTo>
                  <a:lnTo>
                    <a:pt x="571" y="4876"/>
                  </a:lnTo>
                  <a:lnTo>
                    <a:pt x="529" y="4869"/>
                  </a:lnTo>
                  <a:lnTo>
                    <a:pt x="439" y="4855"/>
                  </a:lnTo>
                  <a:lnTo>
                    <a:pt x="342" y="4876"/>
                  </a:lnTo>
                  <a:lnTo>
                    <a:pt x="293" y="4876"/>
                  </a:lnTo>
                  <a:lnTo>
                    <a:pt x="237" y="4883"/>
                  </a:lnTo>
                  <a:lnTo>
                    <a:pt x="188" y="4855"/>
                  </a:lnTo>
                  <a:lnTo>
                    <a:pt x="167" y="4855"/>
                  </a:lnTo>
                  <a:lnTo>
                    <a:pt x="105" y="4806"/>
                  </a:lnTo>
                  <a:lnTo>
                    <a:pt x="91" y="4806"/>
                  </a:lnTo>
                  <a:lnTo>
                    <a:pt x="28" y="4716"/>
                  </a:lnTo>
                  <a:lnTo>
                    <a:pt x="8" y="4660"/>
                  </a:lnTo>
                  <a:lnTo>
                    <a:pt x="42" y="4626"/>
                  </a:lnTo>
                  <a:lnTo>
                    <a:pt x="35" y="4563"/>
                  </a:lnTo>
                  <a:lnTo>
                    <a:pt x="28" y="4542"/>
                  </a:lnTo>
                  <a:lnTo>
                    <a:pt x="0" y="4493"/>
                  </a:lnTo>
                  <a:lnTo>
                    <a:pt x="35" y="4424"/>
                  </a:lnTo>
                  <a:lnTo>
                    <a:pt x="35" y="4382"/>
                  </a:lnTo>
                  <a:lnTo>
                    <a:pt x="28" y="4333"/>
                  </a:lnTo>
                  <a:lnTo>
                    <a:pt x="8" y="4250"/>
                  </a:lnTo>
                  <a:lnTo>
                    <a:pt x="14" y="4187"/>
                  </a:lnTo>
                  <a:lnTo>
                    <a:pt x="98" y="4153"/>
                  </a:lnTo>
                  <a:lnTo>
                    <a:pt x="147" y="4146"/>
                  </a:lnTo>
                  <a:lnTo>
                    <a:pt x="202" y="4125"/>
                  </a:lnTo>
                  <a:lnTo>
                    <a:pt x="230" y="4104"/>
                  </a:lnTo>
                  <a:lnTo>
                    <a:pt x="307" y="4034"/>
                  </a:lnTo>
                  <a:lnTo>
                    <a:pt x="327" y="4013"/>
                  </a:lnTo>
                  <a:lnTo>
                    <a:pt x="334" y="3951"/>
                  </a:lnTo>
                  <a:lnTo>
                    <a:pt x="355" y="3895"/>
                  </a:lnTo>
                  <a:lnTo>
                    <a:pt x="390" y="3832"/>
                  </a:lnTo>
                  <a:lnTo>
                    <a:pt x="404" y="3784"/>
                  </a:lnTo>
                  <a:lnTo>
                    <a:pt x="467" y="3666"/>
                  </a:lnTo>
                  <a:lnTo>
                    <a:pt x="474" y="3589"/>
                  </a:lnTo>
                  <a:lnTo>
                    <a:pt x="501" y="3506"/>
                  </a:lnTo>
                  <a:lnTo>
                    <a:pt x="453" y="3457"/>
                  </a:lnTo>
                  <a:lnTo>
                    <a:pt x="376" y="3373"/>
                  </a:lnTo>
                  <a:lnTo>
                    <a:pt x="327" y="3332"/>
                  </a:lnTo>
                  <a:lnTo>
                    <a:pt x="369" y="3241"/>
                  </a:lnTo>
                  <a:lnTo>
                    <a:pt x="397" y="3227"/>
                  </a:lnTo>
                  <a:lnTo>
                    <a:pt x="460" y="3207"/>
                  </a:lnTo>
                  <a:lnTo>
                    <a:pt x="550" y="3165"/>
                  </a:lnTo>
                  <a:lnTo>
                    <a:pt x="550" y="3151"/>
                  </a:lnTo>
                  <a:lnTo>
                    <a:pt x="599" y="3109"/>
                  </a:lnTo>
                  <a:lnTo>
                    <a:pt x="682" y="3102"/>
                  </a:lnTo>
                  <a:lnTo>
                    <a:pt x="731" y="3116"/>
                  </a:lnTo>
                  <a:lnTo>
                    <a:pt x="801" y="3130"/>
                  </a:lnTo>
                  <a:lnTo>
                    <a:pt x="821" y="3116"/>
                  </a:lnTo>
                  <a:lnTo>
                    <a:pt x="821" y="3130"/>
                  </a:lnTo>
                  <a:lnTo>
                    <a:pt x="856" y="3109"/>
                  </a:lnTo>
                  <a:lnTo>
                    <a:pt x="919" y="3040"/>
                  </a:lnTo>
                  <a:lnTo>
                    <a:pt x="961" y="2921"/>
                  </a:lnTo>
                  <a:lnTo>
                    <a:pt x="982" y="2838"/>
                  </a:lnTo>
                  <a:lnTo>
                    <a:pt x="974" y="2671"/>
                  </a:lnTo>
                  <a:lnTo>
                    <a:pt x="954" y="2650"/>
                  </a:lnTo>
                  <a:lnTo>
                    <a:pt x="947" y="2643"/>
                  </a:lnTo>
                  <a:lnTo>
                    <a:pt x="947" y="2650"/>
                  </a:lnTo>
                  <a:lnTo>
                    <a:pt x="926" y="2650"/>
                  </a:lnTo>
                  <a:lnTo>
                    <a:pt x="877" y="2622"/>
                  </a:lnTo>
                  <a:lnTo>
                    <a:pt x="856" y="2573"/>
                  </a:lnTo>
                  <a:lnTo>
                    <a:pt x="821" y="2504"/>
                  </a:lnTo>
                  <a:lnTo>
                    <a:pt x="787" y="2462"/>
                  </a:lnTo>
                  <a:lnTo>
                    <a:pt x="766" y="2406"/>
                  </a:lnTo>
                  <a:lnTo>
                    <a:pt x="717" y="2177"/>
                  </a:lnTo>
                  <a:lnTo>
                    <a:pt x="717" y="2093"/>
                  </a:lnTo>
                  <a:lnTo>
                    <a:pt x="703" y="2024"/>
                  </a:lnTo>
                  <a:lnTo>
                    <a:pt x="703" y="1947"/>
                  </a:lnTo>
                  <a:lnTo>
                    <a:pt x="696" y="1892"/>
                  </a:lnTo>
                  <a:lnTo>
                    <a:pt x="682" y="1794"/>
                  </a:lnTo>
                  <a:lnTo>
                    <a:pt x="648" y="1662"/>
                  </a:lnTo>
                  <a:lnTo>
                    <a:pt x="599" y="1530"/>
                  </a:lnTo>
                  <a:lnTo>
                    <a:pt x="564" y="1488"/>
                  </a:lnTo>
                  <a:lnTo>
                    <a:pt x="529" y="1412"/>
                  </a:lnTo>
                  <a:lnTo>
                    <a:pt x="460" y="1328"/>
                  </a:lnTo>
                  <a:lnTo>
                    <a:pt x="432" y="1328"/>
                  </a:lnTo>
                  <a:lnTo>
                    <a:pt x="432" y="1314"/>
                  </a:lnTo>
                  <a:lnTo>
                    <a:pt x="390" y="1238"/>
                  </a:lnTo>
                  <a:lnTo>
                    <a:pt x="376" y="1203"/>
                  </a:lnTo>
                  <a:lnTo>
                    <a:pt x="334" y="1043"/>
                  </a:lnTo>
                  <a:lnTo>
                    <a:pt x="321" y="1029"/>
                  </a:lnTo>
                  <a:lnTo>
                    <a:pt x="300" y="974"/>
                  </a:lnTo>
                  <a:lnTo>
                    <a:pt x="300" y="904"/>
                  </a:lnTo>
                  <a:lnTo>
                    <a:pt x="293" y="876"/>
                  </a:lnTo>
                  <a:lnTo>
                    <a:pt x="286" y="841"/>
                  </a:lnTo>
                  <a:lnTo>
                    <a:pt x="258" y="709"/>
                  </a:lnTo>
                  <a:lnTo>
                    <a:pt x="244" y="681"/>
                  </a:lnTo>
                  <a:lnTo>
                    <a:pt x="237" y="667"/>
                  </a:lnTo>
                  <a:lnTo>
                    <a:pt x="265" y="626"/>
                  </a:lnTo>
                  <a:lnTo>
                    <a:pt x="265" y="605"/>
                  </a:lnTo>
                  <a:lnTo>
                    <a:pt x="230" y="514"/>
                  </a:lnTo>
                  <a:lnTo>
                    <a:pt x="209" y="480"/>
                  </a:lnTo>
                  <a:lnTo>
                    <a:pt x="237" y="438"/>
                  </a:lnTo>
                  <a:lnTo>
                    <a:pt x="244" y="389"/>
                  </a:lnTo>
                  <a:lnTo>
                    <a:pt x="265" y="382"/>
                  </a:lnTo>
                  <a:lnTo>
                    <a:pt x="321" y="313"/>
                  </a:lnTo>
                  <a:lnTo>
                    <a:pt x="369" y="313"/>
                  </a:lnTo>
                  <a:lnTo>
                    <a:pt x="397" y="340"/>
                  </a:lnTo>
                  <a:lnTo>
                    <a:pt x="425" y="326"/>
                  </a:lnTo>
                  <a:lnTo>
                    <a:pt x="439" y="354"/>
                  </a:lnTo>
                  <a:lnTo>
                    <a:pt x="494" y="313"/>
                  </a:lnTo>
                  <a:lnTo>
                    <a:pt x="557" y="340"/>
                  </a:lnTo>
                  <a:lnTo>
                    <a:pt x="585" y="347"/>
                  </a:lnTo>
                  <a:lnTo>
                    <a:pt x="620" y="340"/>
                  </a:lnTo>
                  <a:lnTo>
                    <a:pt x="634" y="320"/>
                  </a:lnTo>
                  <a:lnTo>
                    <a:pt x="661" y="326"/>
                  </a:lnTo>
                  <a:lnTo>
                    <a:pt x="668" y="347"/>
                  </a:lnTo>
                  <a:lnTo>
                    <a:pt x="654" y="361"/>
                  </a:lnTo>
                  <a:lnTo>
                    <a:pt x="634" y="389"/>
                  </a:lnTo>
                  <a:lnTo>
                    <a:pt x="634" y="445"/>
                  </a:lnTo>
                  <a:lnTo>
                    <a:pt x="648" y="473"/>
                  </a:lnTo>
                  <a:lnTo>
                    <a:pt x="689" y="521"/>
                  </a:lnTo>
                  <a:lnTo>
                    <a:pt x="689" y="549"/>
                  </a:lnTo>
                  <a:lnTo>
                    <a:pt x="717" y="542"/>
                  </a:lnTo>
                  <a:lnTo>
                    <a:pt x="766" y="521"/>
                  </a:lnTo>
                  <a:lnTo>
                    <a:pt x="801" y="521"/>
                  </a:lnTo>
                  <a:lnTo>
                    <a:pt x="849" y="521"/>
                  </a:lnTo>
                  <a:lnTo>
                    <a:pt x="877" y="493"/>
                  </a:lnTo>
                  <a:lnTo>
                    <a:pt x="898" y="507"/>
                  </a:lnTo>
                  <a:lnTo>
                    <a:pt x="919" y="514"/>
                  </a:lnTo>
                  <a:lnTo>
                    <a:pt x="961" y="542"/>
                  </a:lnTo>
                  <a:lnTo>
                    <a:pt x="961" y="473"/>
                  </a:lnTo>
                  <a:lnTo>
                    <a:pt x="1009" y="480"/>
                  </a:lnTo>
                  <a:lnTo>
                    <a:pt x="1072" y="459"/>
                  </a:lnTo>
                  <a:lnTo>
                    <a:pt x="1128" y="473"/>
                  </a:lnTo>
                  <a:lnTo>
                    <a:pt x="1176" y="521"/>
                  </a:lnTo>
                  <a:lnTo>
                    <a:pt x="1204" y="535"/>
                  </a:lnTo>
                  <a:lnTo>
                    <a:pt x="1204" y="493"/>
                  </a:lnTo>
                  <a:lnTo>
                    <a:pt x="1211" y="487"/>
                  </a:lnTo>
                  <a:lnTo>
                    <a:pt x="1162" y="452"/>
                  </a:lnTo>
                  <a:lnTo>
                    <a:pt x="1211" y="389"/>
                  </a:lnTo>
                  <a:lnTo>
                    <a:pt x="1218" y="375"/>
                  </a:lnTo>
                  <a:lnTo>
                    <a:pt x="1239" y="320"/>
                  </a:lnTo>
                  <a:lnTo>
                    <a:pt x="1246" y="320"/>
                  </a:lnTo>
                  <a:lnTo>
                    <a:pt x="1260" y="257"/>
                  </a:lnTo>
                  <a:lnTo>
                    <a:pt x="1274" y="194"/>
                  </a:lnTo>
                  <a:lnTo>
                    <a:pt x="1274" y="187"/>
                  </a:lnTo>
                  <a:lnTo>
                    <a:pt x="1288" y="118"/>
                  </a:lnTo>
                  <a:lnTo>
                    <a:pt x="1288" y="34"/>
                  </a:lnTo>
                  <a:lnTo>
                    <a:pt x="1308" y="0"/>
                  </a:lnTo>
                  <a:lnTo>
                    <a:pt x="1336" y="27"/>
                  </a:lnTo>
                  <a:lnTo>
                    <a:pt x="1392" y="27"/>
                  </a:lnTo>
                  <a:lnTo>
                    <a:pt x="1434" y="34"/>
                  </a:lnTo>
                  <a:lnTo>
                    <a:pt x="1441" y="27"/>
                  </a:lnTo>
                  <a:lnTo>
                    <a:pt x="1454" y="34"/>
                  </a:lnTo>
                  <a:lnTo>
                    <a:pt x="1482" y="55"/>
                  </a:lnTo>
                  <a:lnTo>
                    <a:pt x="1545" y="34"/>
                  </a:lnTo>
                  <a:lnTo>
                    <a:pt x="1601" y="27"/>
                  </a:lnTo>
                  <a:lnTo>
                    <a:pt x="1649" y="34"/>
                  </a:lnTo>
                  <a:lnTo>
                    <a:pt x="1677" y="55"/>
                  </a:lnTo>
                  <a:lnTo>
                    <a:pt x="1607" y="153"/>
                  </a:lnTo>
                  <a:lnTo>
                    <a:pt x="1607" y="194"/>
                  </a:lnTo>
                  <a:lnTo>
                    <a:pt x="1607" y="208"/>
                  </a:lnTo>
                  <a:lnTo>
                    <a:pt x="1607" y="257"/>
                  </a:lnTo>
                  <a:lnTo>
                    <a:pt x="1642" y="382"/>
                  </a:lnTo>
                  <a:lnTo>
                    <a:pt x="1649" y="389"/>
                  </a:lnTo>
                  <a:lnTo>
                    <a:pt x="1566" y="514"/>
                  </a:lnTo>
                  <a:lnTo>
                    <a:pt x="1566" y="521"/>
                  </a:lnTo>
                  <a:lnTo>
                    <a:pt x="1468" y="653"/>
                  </a:lnTo>
                  <a:lnTo>
                    <a:pt x="1420" y="765"/>
                  </a:lnTo>
                  <a:lnTo>
                    <a:pt x="1413" y="786"/>
                  </a:lnTo>
                  <a:lnTo>
                    <a:pt x="1420" y="855"/>
                  </a:lnTo>
                  <a:lnTo>
                    <a:pt x="1482" y="918"/>
                  </a:lnTo>
                  <a:lnTo>
                    <a:pt x="1482" y="1043"/>
                  </a:lnTo>
                  <a:lnTo>
                    <a:pt x="1566" y="1106"/>
                  </a:lnTo>
                  <a:lnTo>
                    <a:pt x="1670" y="1147"/>
                  </a:lnTo>
                  <a:lnTo>
                    <a:pt x="1837" y="1147"/>
                  </a:lnTo>
                  <a:lnTo>
                    <a:pt x="1879" y="1141"/>
                  </a:lnTo>
                  <a:lnTo>
                    <a:pt x="1962" y="1210"/>
                  </a:lnTo>
                  <a:lnTo>
                    <a:pt x="1990" y="1273"/>
                  </a:lnTo>
                  <a:lnTo>
                    <a:pt x="2032" y="1314"/>
                  </a:lnTo>
                  <a:lnTo>
                    <a:pt x="2095" y="1356"/>
                  </a:lnTo>
                  <a:lnTo>
                    <a:pt x="2143" y="1391"/>
                  </a:lnTo>
                  <a:lnTo>
                    <a:pt x="2234" y="1433"/>
                  </a:lnTo>
                  <a:lnTo>
                    <a:pt x="2303" y="144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8" name="Freeform 47"/>
            <p:cNvSpPr>
              <a:spLocks noChangeArrowheads="1"/>
            </p:cNvSpPr>
            <p:nvPr/>
          </p:nvSpPr>
          <p:spPr bwMode="auto">
            <a:xfrm>
              <a:off x="20790987" y="9043851"/>
              <a:ext cx="10356" cy="10357"/>
            </a:xfrm>
            <a:custGeom>
              <a:avLst/>
              <a:gdLst>
                <a:gd name="T0" fmla="*/ 14 w 22"/>
                <a:gd name="T1" fmla="*/ 0 h 22"/>
                <a:gd name="T2" fmla="*/ 21 w 22"/>
                <a:gd name="T3" fmla="*/ 21 h 22"/>
                <a:gd name="T4" fmla="*/ 0 w 22"/>
                <a:gd name="T5" fmla="*/ 7 h 22"/>
                <a:gd name="T6" fmla="*/ 14 w 22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2">
                  <a:moveTo>
                    <a:pt x="14" y="0"/>
                  </a:moveTo>
                  <a:lnTo>
                    <a:pt x="21" y="21"/>
                  </a:lnTo>
                  <a:lnTo>
                    <a:pt x="0" y="7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89" name="Freeform 48"/>
            <p:cNvSpPr>
              <a:spLocks noChangeArrowheads="1"/>
            </p:cNvSpPr>
            <p:nvPr/>
          </p:nvSpPr>
          <p:spPr bwMode="auto">
            <a:xfrm>
              <a:off x="19788570" y="8654458"/>
              <a:ext cx="1186747" cy="1282101"/>
            </a:xfrm>
            <a:custGeom>
              <a:avLst/>
              <a:gdLst>
                <a:gd name="T0" fmla="*/ 1822 w 2526"/>
                <a:gd name="T1" fmla="*/ 2205 h 2728"/>
                <a:gd name="T2" fmla="*/ 1968 w 2526"/>
                <a:gd name="T3" fmla="*/ 2233 h 2728"/>
                <a:gd name="T4" fmla="*/ 2191 w 2526"/>
                <a:gd name="T5" fmla="*/ 2205 h 2728"/>
                <a:gd name="T6" fmla="*/ 2434 w 2526"/>
                <a:gd name="T7" fmla="*/ 1781 h 2728"/>
                <a:gd name="T8" fmla="*/ 2476 w 2526"/>
                <a:gd name="T9" fmla="*/ 1586 h 2728"/>
                <a:gd name="T10" fmla="*/ 2358 w 2526"/>
                <a:gd name="T11" fmla="*/ 1454 h 2728"/>
                <a:gd name="T12" fmla="*/ 2288 w 2526"/>
                <a:gd name="T13" fmla="*/ 1322 h 2728"/>
                <a:gd name="T14" fmla="*/ 2267 w 2526"/>
                <a:gd name="T15" fmla="*/ 1113 h 2728"/>
                <a:gd name="T16" fmla="*/ 2288 w 2526"/>
                <a:gd name="T17" fmla="*/ 926 h 2728"/>
                <a:gd name="T18" fmla="*/ 2163 w 2526"/>
                <a:gd name="T19" fmla="*/ 863 h 2728"/>
                <a:gd name="T20" fmla="*/ 2066 w 2526"/>
                <a:gd name="T21" fmla="*/ 821 h 2728"/>
                <a:gd name="T22" fmla="*/ 2031 w 2526"/>
                <a:gd name="T23" fmla="*/ 884 h 2728"/>
                <a:gd name="T24" fmla="*/ 1989 w 2526"/>
                <a:gd name="T25" fmla="*/ 884 h 2728"/>
                <a:gd name="T26" fmla="*/ 1927 w 2526"/>
                <a:gd name="T27" fmla="*/ 821 h 2728"/>
                <a:gd name="T28" fmla="*/ 1739 w 2526"/>
                <a:gd name="T29" fmla="*/ 898 h 2728"/>
                <a:gd name="T30" fmla="*/ 1495 w 2526"/>
                <a:gd name="T31" fmla="*/ 661 h 2728"/>
                <a:gd name="T32" fmla="*/ 1301 w 2526"/>
                <a:gd name="T33" fmla="*/ 529 h 2728"/>
                <a:gd name="T34" fmla="*/ 1113 w 2526"/>
                <a:gd name="T35" fmla="*/ 362 h 2728"/>
                <a:gd name="T36" fmla="*/ 1113 w 2526"/>
                <a:gd name="T37" fmla="*/ 167 h 2728"/>
                <a:gd name="T38" fmla="*/ 1022 w 2526"/>
                <a:gd name="T39" fmla="*/ 70 h 2728"/>
                <a:gd name="T40" fmla="*/ 904 w 2526"/>
                <a:gd name="T41" fmla="*/ 0 h 2728"/>
                <a:gd name="T42" fmla="*/ 820 w 2526"/>
                <a:gd name="T43" fmla="*/ 14 h 2728"/>
                <a:gd name="T44" fmla="*/ 716 w 2526"/>
                <a:gd name="T45" fmla="*/ 111 h 2728"/>
                <a:gd name="T46" fmla="*/ 549 w 2526"/>
                <a:gd name="T47" fmla="*/ 105 h 2728"/>
                <a:gd name="T48" fmla="*/ 347 w 2526"/>
                <a:gd name="T49" fmla="*/ 174 h 2728"/>
                <a:gd name="T50" fmla="*/ 382 w 2526"/>
                <a:gd name="T51" fmla="*/ 376 h 2728"/>
                <a:gd name="T52" fmla="*/ 229 w 2526"/>
                <a:gd name="T53" fmla="*/ 536 h 2728"/>
                <a:gd name="T54" fmla="*/ 118 w 2526"/>
                <a:gd name="T55" fmla="*/ 571 h 2728"/>
                <a:gd name="T56" fmla="*/ 62 w 2526"/>
                <a:gd name="T57" fmla="*/ 661 h 2728"/>
                <a:gd name="T58" fmla="*/ 69 w 2526"/>
                <a:gd name="T59" fmla="*/ 717 h 2728"/>
                <a:gd name="T60" fmla="*/ 90 w 2526"/>
                <a:gd name="T61" fmla="*/ 814 h 2728"/>
                <a:gd name="T62" fmla="*/ 201 w 2526"/>
                <a:gd name="T63" fmla="*/ 1009 h 2728"/>
                <a:gd name="T64" fmla="*/ 222 w 2526"/>
                <a:gd name="T65" fmla="*/ 1106 h 2728"/>
                <a:gd name="T66" fmla="*/ 320 w 2526"/>
                <a:gd name="T67" fmla="*/ 1245 h 2728"/>
                <a:gd name="T68" fmla="*/ 334 w 2526"/>
                <a:gd name="T69" fmla="*/ 1350 h 2728"/>
                <a:gd name="T70" fmla="*/ 417 w 2526"/>
                <a:gd name="T71" fmla="*/ 1517 h 2728"/>
                <a:gd name="T72" fmla="*/ 619 w 2526"/>
                <a:gd name="T73" fmla="*/ 1677 h 2728"/>
                <a:gd name="T74" fmla="*/ 647 w 2526"/>
                <a:gd name="T75" fmla="*/ 1802 h 2728"/>
                <a:gd name="T76" fmla="*/ 779 w 2526"/>
                <a:gd name="T77" fmla="*/ 1885 h 2728"/>
                <a:gd name="T78" fmla="*/ 751 w 2526"/>
                <a:gd name="T79" fmla="*/ 2011 h 2728"/>
                <a:gd name="T80" fmla="*/ 626 w 2526"/>
                <a:gd name="T81" fmla="*/ 2129 h 2728"/>
                <a:gd name="T82" fmla="*/ 521 w 2526"/>
                <a:gd name="T83" fmla="*/ 2324 h 2728"/>
                <a:gd name="T84" fmla="*/ 563 w 2526"/>
                <a:gd name="T85" fmla="*/ 2456 h 2728"/>
                <a:gd name="T86" fmla="*/ 695 w 2526"/>
                <a:gd name="T87" fmla="*/ 2658 h 2728"/>
                <a:gd name="T88" fmla="*/ 855 w 2526"/>
                <a:gd name="T89" fmla="*/ 2491 h 2728"/>
                <a:gd name="T90" fmla="*/ 1043 w 2526"/>
                <a:gd name="T91" fmla="*/ 2518 h 2728"/>
                <a:gd name="T92" fmla="*/ 1154 w 2526"/>
                <a:gd name="T93" fmla="*/ 2525 h 2728"/>
                <a:gd name="T94" fmla="*/ 1175 w 2526"/>
                <a:gd name="T95" fmla="*/ 2699 h 2728"/>
                <a:gd name="T96" fmla="*/ 1335 w 2526"/>
                <a:gd name="T97" fmla="*/ 2699 h 2728"/>
                <a:gd name="T98" fmla="*/ 1447 w 2526"/>
                <a:gd name="T99" fmla="*/ 2651 h 2728"/>
                <a:gd name="T100" fmla="*/ 1690 w 2526"/>
                <a:gd name="T101" fmla="*/ 2713 h 2728"/>
                <a:gd name="T102" fmla="*/ 1704 w 2526"/>
                <a:gd name="T103" fmla="*/ 2553 h 2728"/>
                <a:gd name="T104" fmla="*/ 1760 w 2526"/>
                <a:gd name="T105" fmla="*/ 2365 h 2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26" h="2728">
                  <a:moveTo>
                    <a:pt x="1760" y="2365"/>
                  </a:moveTo>
                  <a:lnTo>
                    <a:pt x="1774" y="2296"/>
                  </a:lnTo>
                  <a:lnTo>
                    <a:pt x="1774" y="2212"/>
                  </a:lnTo>
                  <a:lnTo>
                    <a:pt x="1794" y="2178"/>
                  </a:lnTo>
                  <a:lnTo>
                    <a:pt x="1822" y="2205"/>
                  </a:lnTo>
                  <a:lnTo>
                    <a:pt x="1878" y="2205"/>
                  </a:lnTo>
                  <a:lnTo>
                    <a:pt x="1920" y="2212"/>
                  </a:lnTo>
                  <a:lnTo>
                    <a:pt x="1927" y="2205"/>
                  </a:lnTo>
                  <a:lnTo>
                    <a:pt x="1940" y="2212"/>
                  </a:lnTo>
                  <a:lnTo>
                    <a:pt x="1968" y="2233"/>
                  </a:lnTo>
                  <a:lnTo>
                    <a:pt x="2031" y="2212"/>
                  </a:lnTo>
                  <a:lnTo>
                    <a:pt x="2087" y="2205"/>
                  </a:lnTo>
                  <a:lnTo>
                    <a:pt x="2135" y="2212"/>
                  </a:lnTo>
                  <a:lnTo>
                    <a:pt x="2163" y="2233"/>
                  </a:lnTo>
                  <a:lnTo>
                    <a:pt x="2191" y="2205"/>
                  </a:lnTo>
                  <a:lnTo>
                    <a:pt x="2226" y="2178"/>
                  </a:lnTo>
                  <a:lnTo>
                    <a:pt x="2316" y="2031"/>
                  </a:lnTo>
                  <a:lnTo>
                    <a:pt x="2365" y="1899"/>
                  </a:lnTo>
                  <a:lnTo>
                    <a:pt x="2379" y="1878"/>
                  </a:lnTo>
                  <a:lnTo>
                    <a:pt x="2434" y="1781"/>
                  </a:lnTo>
                  <a:lnTo>
                    <a:pt x="2455" y="1746"/>
                  </a:lnTo>
                  <a:lnTo>
                    <a:pt x="2525" y="1614"/>
                  </a:lnTo>
                  <a:lnTo>
                    <a:pt x="2511" y="1607"/>
                  </a:lnTo>
                  <a:lnTo>
                    <a:pt x="2490" y="1600"/>
                  </a:lnTo>
                  <a:lnTo>
                    <a:pt x="2476" y="1586"/>
                  </a:lnTo>
                  <a:lnTo>
                    <a:pt x="2448" y="1551"/>
                  </a:lnTo>
                  <a:lnTo>
                    <a:pt x="2427" y="1524"/>
                  </a:lnTo>
                  <a:lnTo>
                    <a:pt x="2400" y="1475"/>
                  </a:lnTo>
                  <a:lnTo>
                    <a:pt x="2365" y="1454"/>
                  </a:lnTo>
                  <a:lnTo>
                    <a:pt x="2358" y="1454"/>
                  </a:lnTo>
                  <a:lnTo>
                    <a:pt x="2323" y="1475"/>
                  </a:lnTo>
                  <a:lnTo>
                    <a:pt x="2288" y="1447"/>
                  </a:lnTo>
                  <a:lnTo>
                    <a:pt x="2316" y="1385"/>
                  </a:lnTo>
                  <a:lnTo>
                    <a:pt x="2288" y="1350"/>
                  </a:lnTo>
                  <a:lnTo>
                    <a:pt x="2288" y="1322"/>
                  </a:lnTo>
                  <a:lnTo>
                    <a:pt x="2260" y="1287"/>
                  </a:lnTo>
                  <a:lnTo>
                    <a:pt x="2281" y="1218"/>
                  </a:lnTo>
                  <a:lnTo>
                    <a:pt x="2267" y="1190"/>
                  </a:lnTo>
                  <a:lnTo>
                    <a:pt x="2295" y="1176"/>
                  </a:lnTo>
                  <a:lnTo>
                    <a:pt x="2267" y="1113"/>
                  </a:lnTo>
                  <a:lnTo>
                    <a:pt x="2295" y="981"/>
                  </a:lnTo>
                  <a:lnTo>
                    <a:pt x="2267" y="967"/>
                  </a:lnTo>
                  <a:lnTo>
                    <a:pt x="2246" y="953"/>
                  </a:lnTo>
                  <a:lnTo>
                    <a:pt x="2260" y="946"/>
                  </a:lnTo>
                  <a:lnTo>
                    <a:pt x="2288" y="926"/>
                  </a:lnTo>
                  <a:lnTo>
                    <a:pt x="2191" y="849"/>
                  </a:lnTo>
                  <a:lnTo>
                    <a:pt x="2191" y="877"/>
                  </a:lnTo>
                  <a:lnTo>
                    <a:pt x="2170" y="884"/>
                  </a:lnTo>
                  <a:lnTo>
                    <a:pt x="2170" y="863"/>
                  </a:lnTo>
                  <a:lnTo>
                    <a:pt x="2163" y="863"/>
                  </a:lnTo>
                  <a:lnTo>
                    <a:pt x="2149" y="863"/>
                  </a:lnTo>
                  <a:lnTo>
                    <a:pt x="2149" y="856"/>
                  </a:lnTo>
                  <a:lnTo>
                    <a:pt x="2128" y="849"/>
                  </a:lnTo>
                  <a:lnTo>
                    <a:pt x="2073" y="849"/>
                  </a:lnTo>
                  <a:lnTo>
                    <a:pt x="2066" y="821"/>
                  </a:lnTo>
                  <a:lnTo>
                    <a:pt x="2038" y="828"/>
                  </a:lnTo>
                  <a:lnTo>
                    <a:pt x="2038" y="856"/>
                  </a:lnTo>
                  <a:lnTo>
                    <a:pt x="2038" y="884"/>
                  </a:lnTo>
                  <a:lnTo>
                    <a:pt x="2038" y="863"/>
                  </a:lnTo>
                  <a:lnTo>
                    <a:pt x="2031" y="884"/>
                  </a:lnTo>
                  <a:lnTo>
                    <a:pt x="2017" y="835"/>
                  </a:lnTo>
                  <a:lnTo>
                    <a:pt x="1996" y="835"/>
                  </a:lnTo>
                  <a:lnTo>
                    <a:pt x="1989" y="849"/>
                  </a:lnTo>
                  <a:lnTo>
                    <a:pt x="1975" y="863"/>
                  </a:lnTo>
                  <a:lnTo>
                    <a:pt x="1989" y="884"/>
                  </a:lnTo>
                  <a:lnTo>
                    <a:pt x="1989" y="898"/>
                  </a:lnTo>
                  <a:lnTo>
                    <a:pt x="1954" y="884"/>
                  </a:lnTo>
                  <a:lnTo>
                    <a:pt x="1954" y="877"/>
                  </a:lnTo>
                  <a:lnTo>
                    <a:pt x="1954" y="856"/>
                  </a:lnTo>
                  <a:lnTo>
                    <a:pt x="1927" y="821"/>
                  </a:lnTo>
                  <a:lnTo>
                    <a:pt x="1906" y="856"/>
                  </a:lnTo>
                  <a:lnTo>
                    <a:pt x="1801" y="953"/>
                  </a:lnTo>
                  <a:lnTo>
                    <a:pt x="1774" y="953"/>
                  </a:lnTo>
                  <a:lnTo>
                    <a:pt x="1760" y="946"/>
                  </a:lnTo>
                  <a:lnTo>
                    <a:pt x="1739" y="898"/>
                  </a:lnTo>
                  <a:lnTo>
                    <a:pt x="1676" y="849"/>
                  </a:lnTo>
                  <a:lnTo>
                    <a:pt x="1634" y="793"/>
                  </a:lnTo>
                  <a:lnTo>
                    <a:pt x="1558" y="745"/>
                  </a:lnTo>
                  <a:lnTo>
                    <a:pt x="1516" y="668"/>
                  </a:lnTo>
                  <a:lnTo>
                    <a:pt x="1495" y="661"/>
                  </a:lnTo>
                  <a:lnTo>
                    <a:pt x="1468" y="564"/>
                  </a:lnTo>
                  <a:lnTo>
                    <a:pt x="1433" y="487"/>
                  </a:lnTo>
                  <a:lnTo>
                    <a:pt x="1384" y="459"/>
                  </a:lnTo>
                  <a:lnTo>
                    <a:pt x="1342" y="466"/>
                  </a:lnTo>
                  <a:lnTo>
                    <a:pt x="1301" y="529"/>
                  </a:lnTo>
                  <a:lnTo>
                    <a:pt x="1273" y="494"/>
                  </a:lnTo>
                  <a:lnTo>
                    <a:pt x="1134" y="425"/>
                  </a:lnTo>
                  <a:lnTo>
                    <a:pt x="1057" y="390"/>
                  </a:lnTo>
                  <a:lnTo>
                    <a:pt x="1050" y="362"/>
                  </a:lnTo>
                  <a:lnTo>
                    <a:pt x="1113" y="362"/>
                  </a:lnTo>
                  <a:lnTo>
                    <a:pt x="1147" y="292"/>
                  </a:lnTo>
                  <a:lnTo>
                    <a:pt x="1147" y="244"/>
                  </a:lnTo>
                  <a:lnTo>
                    <a:pt x="1168" y="237"/>
                  </a:lnTo>
                  <a:lnTo>
                    <a:pt x="1154" y="209"/>
                  </a:lnTo>
                  <a:lnTo>
                    <a:pt x="1113" y="167"/>
                  </a:lnTo>
                  <a:lnTo>
                    <a:pt x="1092" y="188"/>
                  </a:lnTo>
                  <a:lnTo>
                    <a:pt x="1071" y="139"/>
                  </a:lnTo>
                  <a:lnTo>
                    <a:pt x="1071" y="105"/>
                  </a:lnTo>
                  <a:lnTo>
                    <a:pt x="1022" y="98"/>
                  </a:lnTo>
                  <a:lnTo>
                    <a:pt x="1022" y="70"/>
                  </a:lnTo>
                  <a:lnTo>
                    <a:pt x="1001" y="56"/>
                  </a:lnTo>
                  <a:lnTo>
                    <a:pt x="980" y="63"/>
                  </a:lnTo>
                  <a:lnTo>
                    <a:pt x="939" y="28"/>
                  </a:lnTo>
                  <a:lnTo>
                    <a:pt x="918" y="35"/>
                  </a:lnTo>
                  <a:lnTo>
                    <a:pt x="904" y="0"/>
                  </a:lnTo>
                  <a:lnTo>
                    <a:pt x="883" y="0"/>
                  </a:lnTo>
                  <a:lnTo>
                    <a:pt x="876" y="7"/>
                  </a:lnTo>
                  <a:lnTo>
                    <a:pt x="855" y="7"/>
                  </a:lnTo>
                  <a:lnTo>
                    <a:pt x="848" y="28"/>
                  </a:lnTo>
                  <a:lnTo>
                    <a:pt x="820" y="14"/>
                  </a:lnTo>
                  <a:lnTo>
                    <a:pt x="813" y="42"/>
                  </a:lnTo>
                  <a:lnTo>
                    <a:pt x="779" y="56"/>
                  </a:lnTo>
                  <a:lnTo>
                    <a:pt x="779" y="63"/>
                  </a:lnTo>
                  <a:lnTo>
                    <a:pt x="772" y="98"/>
                  </a:lnTo>
                  <a:lnTo>
                    <a:pt x="716" y="111"/>
                  </a:lnTo>
                  <a:lnTo>
                    <a:pt x="688" y="98"/>
                  </a:lnTo>
                  <a:lnTo>
                    <a:pt x="661" y="91"/>
                  </a:lnTo>
                  <a:lnTo>
                    <a:pt x="653" y="105"/>
                  </a:lnTo>
                  <a:lnTo>
                    <a:pt x="577" y="111"/>
                  </a:lnTo>
                  <a:lnTo>
                    <a:pt x="549" y="105"/>
                  </a:lnTo>
                  <a:lnTo>
                    <a:pt x="528" y="105"/>
                  </a:lnTo>
                  <a:lnTo>
                    <a:pt x="494" y="91"/>
                  </a:lnTo>
                  <a:lnTo>
                    <a:pt x="396" y="98"/>
                  </a:lnTo>
                  <a:lnTo>
                    <a:pt x="347" y="139"/>
                  </a:lnTo>
                  <a:lnTo>
                    <a:pt x="347" y="174"/>
                  </a:lnTo>
                  <a:lnTo>
                    <a:pt x="354" y="188"/>
                  </a:lnTo>
                  <a:lnTo>
                    <a:pt x="368" y="244"/>
                  </a:lnTo>
                  <a:lnTo>
                    <a:pt x="396" y="320"/>
                  </a:lnTo>
                  <a:lnTo>
                    <a:pt x="382" y="369"/>
                  </a:lnTo>
                  <a:lnTo>
                    <a:pt x="382" y="376"/>
                  </a:lnTo>
                  <a:lnTo>
                    <a:pt x="334" y="452"/>
                  </a:lnTo>
                  <a:lnTo>
                    <a:pt x="334" y="473"/>
                  </a:lnTo>
                  <a:lnTo>
                    <a:pt x="320" y="494"/>
                  </a:lnTo>
                  <a:lnTo>
                    <a:pt x="264" y="522"/>
                  </a:lnTo>
                  <a:lnTo>
                    <a:pt x="229" y="536"/>
                  </a:lnTo>
                  <a:lnTo>
                    <a:pt x="229" y="584"/>
                  </a:lnTo>
                  <a:lnTo>
                    <a:pt x="215" y="592"/>
                  </a:lnTo>
                  <a:lnTo>
                    <a:pt x="187" y="571"/>
                  </a:lnTo>
                  <a:lnTo>
                    <a:pt x="118" y="564"/>
                  </a:lnTo>
                  <a:lnTo>
                    <a:pt x="118" y="571"/>
                  </a:lnTo>
                  <a:lnTo>
                    <a:pt x="69" y="564"/>
                  </a:lnTo>
                  <a:lnTo>
                    <a:pt x="41" y="557"/>
                  </a:lnTo>
                  <a:lnTo>
                    <a:pt x="41" y="584"/>
                  </a:lnTo>
                  <a:lnTo>
                    <a:pt x="69" y="599"/>
                  </a:lnTo>
                  <a:lnTo>
                    <a:pt x="62" y="661"/>
                  </a:lnTo>
                  <a:lnTo>
                    <a:pt x="34" y="661"/>
                  </a:lnTo>
                  <a:lnTo>
                    <a:pt x="0" y="661"/>
                  </a:lnTo>
                  <a:lnTo>
                    <a:pt x="34" y="689"/>
                  </a:lnTo>
                  <a:lnTo>
                    <a:pt x="41" y="703"/>
                  </a:lnTo>
                  <a:lnTo>
                    <a:pt x="69" y="717"/>
                  </a:lnTo>
                  <a:lnTo>
                    <a:pt x="55" y="745"/>
                  </a:lnTo>
                  <a:lnTo>
                    <a:pt x="90" y="751"/>
                  </a:lnTo>
                  <a:lnTo>
                    <a:pt x="90" y="800"/>
                  </a:lnTo>
                  <a:lnTo>
                    <a:pt x="97" y="814"/>
                  </a:lnTo>
                  <a:lnTo>
                    <a:pt x="90" y="814"/>
                  </a:lnTo>
                  <a:lnTo>
                    <a:pt x="76" y="877"/>
                  </a:lnTo>
                  <a:lnTo>
                    <a:pt x="90" y="911"/>
                  </a:lnTo>
                  <a:lnTo>
                    <a:pt x="132" y="932"/>
                  </a:lnTo>
                  <a:lnTo>
                    <a:pt x="173" y="981"/>
                  </a:lnTo>
                  <a:lnTo>
                    <a:pt x="201" y="1009"/>
                  </a:lnTo>
                  <a:lnTo>
                    <a:pt x="257" y="1016"/>
                  </a:lnTo>
                  <a:lnTo>
                    <a:pt x="264" y="1030"/>
                  </a:lnTo>
                  <a:lnTo>
                    <a:pt x="285" y="1051"/>
                  </a:lnTo>
                  <a:lnTo>
                    <a:pt x="236" y="1085"/>
                  </a:lnTo>
                  <a:lnTo>
                    <a:pt x="222" y="1106"/>
                  </a:lnTo>
                  <a:lnTo>
                    <a:pt x="215" y="1113"/>
                  </a:lnTo>
                  <a:lnTo>
                    <a:pt x="194" y="1155"/>
                  </a:lnTo>
                  <a:lnTo>
                    <a:pt x="236" y="1190"/>
                  </a:lnTo>
                  <a:lnTo>
                    <a:pt x="299" y="1224"/>
                  </a:lnTo>
                  <a:lnTo>
                    <a:pt x="320" y="1245"/>
                  </a:lnTo>
                  <a:lnTo>
                    <a:pt x="327" y="1238"/>
                  </a:lnTo>
                  <a:lnTo>
                    <a:pt x="334" y="1245"/>
                  </a:lnTo>
                  <a:lnTo>
                    <a:pt x="327" y="1259"/>
                  </a:lnTo>
                  <a:lnTo>
                    <a:pt x="347" y="1322"/>
                  </a:lnTo>
                  <a:lnTo>
                    <a:pt x="334" y="1350"/>
                  </a:lnTo>
                  <a:lnTo>
                    <a:pt x="354" y="1378"/>
                  </a:lnTo>
                  <a:lnTo>
                    <a:pt x="334" y="1405"/>
                  </a:lnTo>
                  <a:lnTo>
                    <a:pt x="334" y="1419"/>
                  </a:lnTo>
                  <a:lnTo>
                    <a:pt x="403" y="1468"/>
                  </a:lnTo>
                  <a:lnTo>
                    <a:pt x="417" y="1517"/>
                  </a:lnTo>
                  <a:lnTo>
                    <a:pt x="521" y="1586"/>
                  </a:lnTo>
                  <a:lnTo>
                    <a:pt x="542" y="1635"/>
                  </a:lnTo>
                  <a:lnTo>
                    <a:pt x="563" y="1621"/>
                  </a:lnTo>
                  <a:lnTo>
                    <a:pt x="577" y="1635"/>
                  </a:lnTo>
                  <a:lnTo>
                    <a:pt x="619" y="1677"/>
                  </a:lnTo>
                  <a:lnTo>
                    <a:pt x="612" y="1746"/>
                  </a:lnTo>
                  <a:lnTo>
                    <a:pt x="633" y="1774"/>
                  </a:lnTo>
                  <a:lnTo>
                    <a:pt x="633" y="1781"/>
                  </a:lnTo>
                  <a:lnTo>
                    <a:pt x="647" y="1781"/>
                  </a:lnTo>
                  <a:lnTo>
                    <a:pt x="647" y="1802"/>
                  </a:lnTo>
                  <a:lnTo>
                    <a:pt x="661" y="1816"/>
                  </a:lnTo>
                  <a:lnTo>
                    <a:pt x="716" y="1844"/>
                  </a:lnTo>
                  <a:lnTo>
                    <a:pt x="744" y="1851"/>
                  </a:lnTo>
                  <a:lnTo>
                    <a:pt x="779" y="1878"/>
                  </a:lnTo>
                  <a:lnTo>
                    <a:pt x="779" y="1885"/>
                  </a:lnTo>
                  <a:lnTo>
                    <a:pt x="772" y="1906"/>
                  </a:lnTo>
                  <a:lnTo>
                    <a:pt x="779" y="1941"/>
                  </a:lnTo>
                  <a:lnTo>
                    <a:pt x="751" y="1962"/>
                  </a:lnTo>
                  <a:lnTo>
                    <a:pt x="758" y="1997"/>
                  </a:lnTo>
                  <a:lnTo>
                    <a:pt x="751" y="2011"/>
                  </a:lnTo>
                  <a:lnTo>
                    <a:pt x="716" y="2031"/>
                  </a:lnTo>
                  <a:lnTo>
                    <a:pt x="653" y="2059"/>
                  </a:lnTo>
                  <a:lnTo>
                    <a:pt x="653" y="2073"/>
                  </a:lnTo>
                  <a:lnTo>
                    <a:pt x="626" y="2101"/>
                  </a:lnTo>
                  <a:lnTo>
                    <a:pt x="626" y="2129"/>
                  </a:lnTo>
                  <a:lnTo>
                    <a:pt x="612" y="2157"/>
                  </a:lnTo>
                  <a:lnTo>
                    <a:pt x="612" y="2212"/>
                  </a:lnTo>
                  <a:lnTo>
                    <a:pt x="612" y="2233"/>
                  </a:lnTo>
                  <a:lnTo>
                    <a:pt x="577" y="2296"/>
                  </a:lnTo>
                  <a:lnTo>
                    <a:pt x="521" y="2324"/>
                  </a:lnTo>
                  <a:lnTo>
                    <a:pt x="563" y="2358"/>
                  </a:lnTo>
                  <a:lnTo>
                    <a:pt x="563" y="2372"/>
                  </a:lnTo>
                  <a:lnTo>
                    <a:pt x="514" y="2400"/>
                  </a:lnTo>
                  <a:lnTo>
                    <a:pt x="556" y="2421"/>
                  </a:lnTo>
                  <a:lnTo>
                    <a:pt x="563" y="2456"/>
                  </a:lnTo>
                  <a:lnTo>
                    <a:pt x="584" y="2491"/>
                  </a:lnTo>
                  <a:lnTo>
                    <a:pt x="626" y="2532"/>
                  </a:lnTo>
                  <a:lnTo>
                    <a:pt x="661" y="2602"/>
                  </a:lnTo>
                  <a:lnTo>
                    <a:pt x="681" y="2637"/>
                  </a:lnTo>
                  <a:lnTo>
                    <a:pt x="695" y="2658"/>
                  </a:lnTo>
                  <a:lnTo>
                    <a:pt x="723" y="2616"/>
                  </a:lnTo>
                  <a:lnTo>
                    <a:pt x="730" y="2567"/>
                  </a:lnTo>
                  <a:lnTo>
                    <a:pt x="751" y="2560"/>
                  </a:lnTo>
                  <a:lnTo>
                    <a:pt x="807" y="2491"/>
                  </a:lnTo>
                  <a:lnTo>
                    <a:pt x="855" y="2491"/>
                  </a:lnTo>
                  <a:lnTo>
                    <a:pt x="883" y="2518"/>
                  </a:lnTo>
                  <a:lnTo>
                    <a:pt x="911" y="2504"/>
                  </a:lnTo>
                  <a:lnTo>
                    <a:pt x="925" y="2532"/>
                  </a:lnTo>
                  <a:lnTo>
                    <a:pt x="980" y="2491"/>
                  </a:lnTo>
                  <a:lnTo>
                    <a:pt x="1043" y="2518"/>
                  </a:lnTo>
                  <a:lnTo>
                    <a:pt x="1071" y="2525"/>
                  </a:lnTo>
                  <a:lnTo>
                    <a:pt x="1106" y="2518"/>
                  </a:lnTo>
                  <a:lnTo>
                    <a:pt x="1120" y="2498"/>
                  </a:lnTo>
                  <a:lnTo>
                    <a:pt x="1147" y="2504"/>
                  </a:lnTo>
                  <a:lnTo>
                    <a:pt x="1154" y="2525"/>
                  </a:lnTo>
                  <a:lnTo>
                    <a:pt x="1140" y="2539"/>
                  </a:lnTo>
                  <a:lnTo>
                    <a:pt x="1120" y="2567"/>
                  </a:lnTo>
                  <a:lnTo>
                    <a:pt x="1120" y="2623"/>
                  </a:lnTo>
                  <a:lnTo>
                    <a:pt x="1134" y="2651"/>
                  </a:lnTo>
                  <a:lnTo>
                    <a:pt x="1175" y="2699"/>
                  </a:lnTo>
                  <a:lnTo>
                    <a:pt x="1175" y="2727"/>
                  </a:lnTo>
                  <a:lnTo>
                    <a:pt x="1203" y="2720"/>
                  </a:lnTo>
                  <a:lnTo>
                    <a:pt x="1252" y="2699"/>
                  </a:lnTo>
                  <a:lnTo>
                    <a:pt x="1287" y="2699"/>
                  </a:lnTo>
                  <a:lnTo>
                    <a:pt x="1335" y="2699"/>
                  </a:lnTo>
                  <a:lnTo>
                    <a:pt x="1363" y="2671"/>
                  </a:lnTo>
                  <a:lnTo>
                    <a:pt x="1384" y="2685"/>
                  </a:lnTo>
                  <a:lnTo>
                    <a:pt x="1405" y="2692"/>
                  </a:lnTo>
                  <a:lnTo>
                    <a:pt x="1447" y="2720"/>
                  </a:lnTo>
                  <a:lnTo>
                    <a:pt x="1447" y="2651"/>
                  </a:lnTo>
                  <a:lnTo>
                    <a:pt x="1495" y="2658"/>
                  </a:lnTo>
                  <a:lnTo>
                    <a:pt x="1558" y="2637"/>
                  </a:lnTo>
                  <a:lnTo>
                    <a:pt x="1614" y="2651"/>
                  </a:lnTo>
                  <a:lnTo>
                    <a:pt x="1662" y="2699"/>
                  </a:lnTo>
                  <a:lnTo>
                    <a:pt x="1690" y="2713"/>
                  </a:lnTo>
                  <a:lnTo>
                    <a:pt x="1690" y="2671"/>
                  </a:lnTo>
                  <a:lnTo>
                    <a:pt x="1697" y="2665"/>
                  </a:lnTo>
                  <a:lnTo>
                    <a:pt x="1648" y="2630"/>
                  </a:lnTo>
                  <a:lnTo>
                    <a:pt x="1697" y="2567"/>
                  </a:lnTo>
                  <a:lnTo>
                    <a:pt x="1704" y="2553"/>
                  </a:lnTo>
                  <a:lnTo>
                    <a:pt x="1725" y="2498"/>
                  </a:lnTo>
                  <a:lnTo>
                    <a:pt x="1732" y="2498"/>
                  </a:lnTo>
                  <a:lnTo>
                    <a:pt x="1746" y="2435"/>
                  </a:lnTo>
                  <a:lnTo>
                    <a:pt x="1760" y="2372"/>
                  </a:lnTo>
                  <a:lnTo>
                    <a:pt x="1760" y="236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0" name="Freeform 49"/>
            <p:cNvSpPr>
              <a:spLocks noChangeArrowheads="1"/>
            </p:cNvSpPr>
            <p:nvPr/>
          </p:nvSpPr>
          <p:spPr bwMode="auto">
            <a:xfrm>
              <a:off x="19477904" y="7821818"/>
              <a:ext cx="2775286" cy="2218303"/>
            </a:xfrm>
            <a:custGeom>
              <a:avLst/>
              <a:gdLst>
                <a:gd name="T0" fmla="*/ 5565 w 5907"/>
                <a:gd name="T1" fmla="*/ 3429 h 4724"/>
                <a:gd name="T2" fmla="*/ 5822 w 5907"/>
                <a:gd name="T3" fmla="*/ 3784 h 4724"/>
                <a:gd name="T4" fmla="*/ 5843 w 5907"/>
                <a:gd name="T5" fmla="*/ 4097 h 4724"/>
                <a:gd name="T6" fmla="*/ 5711 w 5907"/>
                <a:gd name="T7" fmla="*/ 4347 h 4724"/>
                <a:gd name="T8" fmla="*/ 5669 w 5907"/>
                <a:gd name="T9" fmla="*/ 4716 h 4724"/>
                <a:gd name="T10" fmla="*/ 5481 w 5907"/>
                <a:gd name="T11" fmla="*/ 4625 h 4724"/>
                <a:gd name="T12" fmla="*/ 5085 w 5907"/>
                <a:gd name="T13" fmla="*/ 4340 h 4724"/>
                <a:gd name="T14" fmla="*/ 5008 w 5907"/>
                <a:gd name="T15" fmla="*/ 4145 h 4724"/>
                <a:gd name="T16" fmla="*/ 4995 w 5907"/>
                <a:gd name="T17" fmla="*/ 3944 h 4724"/>
                <a:gd name="T18" fmla="*/ 4883 w 5907"/>
                <a:gd name="T19" fmla="*/ 3700 h 4724"/>
                <a:gd name="T20" fmla="*/ 4417 w 5907"/>
                <a:gd name="T21" fmla="*/ 3610 h 4724"/>
                <a:gd name="T22" fmla="*/ 4090 w 5907"/>
                <a:gd name="T23" fmla="*/ 3540 h 4724"/>
                <a:gd name="T24" fmla="*/ 3874 w 5907"/>
                <a:gd name="T25" fmla="*/ 3429 h 4724"/>
                <a:gd name="T26" fmla="*/ 3826 w 5907"/>
                <a:gd name="T27" fmla="*/ 3283 h 4724"/>
                <a:gd name="T28" fmla="*/ 3388 w 5907"/>
                <a:gd name="T29" fmla="*/ 3185 h 4724"/>
                <a:gd name="T30" fmla="*/ 3109 w 5907"/>
                <a:gd name="T31" fmla="*/ 3324 h 4724"/>
                <a:gd name="T32" fmla="*/ 2949 w 5907"/>
                <a:gd name="T33" fmla="*/ 3220 h 4724"/>
                <a:gd name="T34" fmla="*/ 2928 w 5907"/>
                <a:gd name="T35" fmla="*/ 2963 h 4724"/>
                <a:gd name="T36" fmla="*/ 2921 w 5907"/>
                <a:gd name="T37" fmla="*/ 2719 h 4724"/>
                <a:gd name="T38" fmla="*/ 2824 w 5907"/>
                <a:gd name="T39" fmla="*/ 2636 h 4724"/>
                <a:gd name="T40" fmla="*/ 2699 w 5907"/>
                <a:gd name="T41" fmla="*/ 2601 h 4724"/>
                <a:gd name="T42" fmla="*/ 2657 w 5907"/>
                <a:gd name="T43" fmla="*/ 2608 h 4724"/>
                <a:gd name="T44" fmla="*/ 2615 w 5907"/>
                <a:gd name="T45" fmla="*/ 2650 h 4724"/>
                <a:gd name="T46" fmla="*/ 2421 w 5907"/>
                <a:gd name="T47" fmla="*/ 2719 h 4724"/>
                <a:gd name="T48" fmla="*/ 2156 w 5907"/>
                <a:gd name="T49" fmla="*/ 2434 h 4724"/>
                <a:gd name="T50" fmla="*/ 1934 w 5907"/>
                <a:gd name="T51" fmla="*/ 2267 h 4724"/>
                <a:gd name="T52" fmla="*/ 1808 w 5907"/>
                <a:gd name="T53" fmla="*/ 2017 h 4724"/>
                <a:gd name="T54" fmla="*/ 1732 w 5907"/>
                <a:gd name="T55" fmla="*/ 1878 h 4724"/>
                <a:gd name="T56" fmla="*/ 1579 w 5907"/>
                <a:gd name="T57" fmla="*/ 1808 h 4724"/>
                <a:gd name="T58" fmla="*/ 1481 w 5907"/>
                <a:gd name="T59" fmla="*/ 1787 h 4724"/>
                <a:gd name="T60" fmla="*/ 1349 w 5907"/>
                <a:gd name="T61" fmla="*/ 1871 h 4724"/>
                <a:gd name="T62" fmla="*/ 1155 w 5907"/>
                <a:gd name="T63" fmla="*/ 1864 h 4724"/>
                <a:gd name="T64" fmla="*/ 862 w 5907"/>
                <a:gd name="T65" fmla="*/ 1905 h 4724"/>
                <a:gd name="T66" fmla="*/ 598 w 5907"/>
                <a:gd name="T67" fmla="*/ 1871 h 4724"/>
                <a:gd name="T68" fmla="*/ 473 w 5907"/>
                <a:gd name="T69" fmla="*/ 1766 h 4724"/>
                <a:gd name="T70" fmla="*/ 570 w 5907"/>
                <a:gd name="T71" fmla="*/ 1544 h 4724"/>
                <a:gd name="T72" fmla="*/ 361 w 5907"/>
                <a:gd name="T73" fmla="*/ 1460 h 4724"/>
                <a:gd name="T74" fmla="*/ 222 w 5907"/>
                <a:gd name="T75" fmla="*/ 1308 h 4724"/>
                <a:gd name="T76" fmla="*/ 271 w 5907"/>
                <a:gd name="T77" fmla="*/ 1127 h 4724"/>
                <a:gd name="T78" fmla="*/ 125 w 5907"/>
                <a:gd name="T79" fmla="*/ 1002 h 4724"/>
                <a:gd name="T80" fmla="*/ 28 w 5907"/>
                <a:gd name="T81" fmla="*/ 793 h 4724"/>
                <a:gd name="T82" fmla="*/ 104 w 5907"/>
                <a:gd name="T83" fmla="*/ 696 h 4724"/>
                <a:gd name="T84" fmla="*/ 264 w 5907"/>
                <a:gd name="T85" fmla="*/ 605 h 4724"/>
                <a:gd name="T86" fmla="*/ 368 w 5907"/>
                <a:gd name="T87" fmla="*/ 522 h 4724"/>
                <a:gd name="T88" fmla="*/ 292 w 5907"/>
                <a:gd name="T89" fmla="*/ 355 h 4724"/>
                <a:gd name="T90" fmla="*/ 334 w 5907"/>
                <a:gd name="T91" fmla="*/ 63 h 4724"/>
                <a:gd name="T92" fmla="*/ 716 w 5907"/>
                <a:gd name="T93" fmla="*/ 98 h 4724"/>
                <a:gd name="T94" fmla="*/ 1468 w 5907"/>
                <a:gd name="T95" fmla="*/ 49 h 4724"/>
                <a:gd name="T96" fmla="*/ 1941 w 5907"/>
                <a:gd name="T97" fmla="*/ 42 h 4724"/>
                <a:gd name="T98" fmla="*/ 2045 w 5907"/>
                <a:gd name="T99" fmla="*/ 202 h 4724"/>
                <a:gd name="T100" fmla="*/ 2038 w 5907"/>
                <a:gd name="T101" fmla="*/ 397 h 4724"/>
                <a:gd name="T102" fmla="*/ 1829 w 5907"/>
                <a:gd name="T103" fmla="*/ 585 h 4724"/>
                <a:gd name="T104" fmla="*/ 1718 w 5907"/>
                <a:gd name="T105" fmla="*/ 1093 h 4724"/>
                <a:gd name="T106" fmla="*/ 2462 w 5907"/>
                <a:gd name="T107" fmla="*/ 1474 h 4724"/>
                <a:gd name="T108" fmla="*/ 2748 w 5907"/>
                <a:gd name="T109" fmla="*/ 1620 h 4724"/>
                <a:gd name="T110" fmla="*/ 3151 w 5907"/>
                <a:gd name="T111" fmla="*/ 1773 h 4724"/>
                <a:gd name="T112" fmla="*/ 3596 w 5907"/>
                <a:gd name="T113" fmla="*/ 1961 h 4724"/>
                <a:gd name="T114" fmla="*/ 3909 w 5907"/>
                <a:gd name="T115" fmla="*/ 2191 h 4724"/>
                <a:gd name="T116" fmla="*/ 4522 w 5907"/>
                <a:gd name="T117" fmla="*/ 2587 h 4724"/>
                <a:gd name="T118" fmla="*/ 4946 w 5907"/>
                <a:gd name="T119" fmla="*/ 2768 h 4724"/>
                <a:gd name="T120" fmla="*/ 4946 w 5907"/>
                <a:gd name="T121" fmla="*/ 2865 h 4724"/>
                <a:gd name="T122" fmla="*/ 5071 w 5907"/>
                <a:gd name="T123" fmla="*/ 2858 h 4724"/>
                <a:gd name="T124" fmla="*/ 5175 w 5907"/>
                <a:gd name="T125" fmla="*/ 3081 h 4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7" h="4724">
                  <a:moveTo>
                    <a:pt x="5217" y="3130"/>
                  </a:moveTo>
                  <a:lnTo>
                    <a:pt x="5287" y="3199"/>
                  </a:lnTo>
                  <a:lnTo>
                    <a:pt x="5412" y="3262"/>
                  </a:lnTo>
                  <a:lnTo>
                    <a:pt x="5502" y="3359"/>
                  </a:lnTo>
                  <a:lnTo>
                    <a:pt x="5551" y="3415"/>
                  </a:lnTo>
                  <a:lnTo>
                    <a:pt x="5565" y="3429"/>
                  </a:lnTo>
                  <a:lnTo>
                    <a:pt x="5669" y="3547"/>
                  </a:lnTo>
                  <a:lnTo>
                    <a:pt x="5739" y="3617"/>
                  </a:lnTo>
                  <a:lnTo>
                    <a:pt x="5767" y="3651"/>
                  </a:lnTo>
                  <a:lnTo>
                    <a:pt x="5774" y="3672"/>
                  </a:lnTo>
                  <a:lnTo>
                    <a:pt x="5781" y="3707"/>
                  </a:lnTo>
                  <a:lnTo>
                    <a:pt x="5822" y="3784"/>
                  </a:lnTo>
                  <a:lnTo>
                    <a:pt x="5808" y="3839"/>
                  </a:lnTo>
                  <a:lnTo>
                    <a:pt x="5857" y="3937"/>
                  </a:lnTo>
                  <a:lnTo>
                    <a:pt x="5906" y="3971"/>
                  </a:lnTo>
                  <a:lnTo>
                    <a:pt x="5892" y="3999"/>
                  </a:lnTo>
                  <a:lnTo>
                    <a:pt x="5906" y="4041"/>
                  </a:lnTo>
                  <a:lnTo>
                    <a:pt x="5843" y="4097"/>
                  </a:lnTo>
                  <a:lnTo>
                    <a:pt x="5836" y="4173"/>
                  </a:lnTo>
                  <a:lnTo>
                    <a:pt x="5774" y="4208"/>
                  </a:lnTo>
                  <a:lnTo>
                    <a:pt x="5767" y="4264"/>
                  </a:lnTo>
                  <a:lnTo>
                    <a:pt x="5746" y="4264"/>
                  </a:lnTo>
                  <a:lnTo>
                    <a:pt x="5725" y="4326"/>
                  </a:lnTo>
                  <a:lnTo>
                    <a:pt x="5711" y="4347"/>
                  </a:lnTo>
                  <a:lnTo>
                    <a:pt x="5697" y="4472"/>
                  </a:lnTo>
                  <a:lnTo>
                    <a:pt x="5704" y="4493"/>
                  </a:lnTo>
                  <a:lnTo>
                    <a:pt x="5704" y="4563"/>
                  </a:lnTo>
                  <a:lnTo>
                    <a:pt x="5697" y="4570"/>
                  </a:lnTo>
                  <a:lnTo>
                    <a:pt x="5697" y="4653"/>
                  </a:lnTo>
                  <a:lnTo>
                    <a:pt x="5669" y="4716"/>
                  </a:lnTo>
                  <a:lnTo>
                    <a:pt x="5662" y="4723"/>
                  </a:lnTo>
                  <a:lnTo>
                    <a:pt x="5648" y="4716"/>
                  </a:lnTo>
                  <a:lnTo>
                    <a:pt x="5628" y="4723"/>
                  </a:lnTo>
                  <a:lnTo>
                    <a:pt x="5579" y="4688"/>
                  </a:lnTo>
                  <a:lnTo>
                    <a:pt x="5530" y="4653"/>
                  </a:lnTo>
                  <a:lnTo>
                    <a:pt x="5481" y="4625"/>
                  </a:lnTo>
                  <a:lnTo>
                    <a:pt x="5433" y="4625"/>
                  </a:lnTo>
                  <a:lnTo>
                    <a:pt x="5370" y="4598"/>
                  </a:lnTo>
                  <a:lnTo>
                    <a:pt x="5287" y="4563"/>
                  </a:lnTo>
                  <a:lnTo>
                    <a:pt x="5189" y="4486"/>
                  </a:lnTo>
                  <a:lnTo>
                    <a:pt x="5127" y="4403"/>
                  </a:lnTo>
                  <a:lnTo>
                    <a:pt x="5085" y="4340"/>
                  </a:lnTo>
                  <a:lnTo>
                    <a:pt x="5078" y="4333"/>
                  </a:lnTo>
                  <a:lnTo>
                    <a:pt x="5043" y="4271"/>
                  </a:lnTo>
                  <a:lnTo>
                    <a:pt x="5057" y="4271"/>
                  </a:lnTo>
                  <a:lnTo>
                    <a:pt x="5085" y="4215"/>
                  </a:lnTo>
                  <a:lnTo>
                    <a:pt x="5050" y="4159"/>
                  </a:lnTo>
                  <a:lnTo>
                    <a:pt x="5008" y="4145"/>
                  </a:lnTo>
                  <a:lnTo>
                    <a:pt x="5022" y="4131"/>
                  </a:lnTo>
                  <a:lnTo>
                    <a:pt x="5071" y="4069"/>
                  </a:lnTo>
                  <a:lnTo>
                    <a:pt x="5057" y="4013"/>
                  </a:lnTo>
                  <a:lnTo>
                    <a:pt x="5050" y="4006"/>
                  </a:lnTo>
                  <a:lnTo>
                    <a:pt x="5029" y="3971"/>
                  </a:lnTo>
                  <a:lnTo>
                    <a:pt x="4995" y="3944"/>
                  </a:lnTo>
                  <a:lnTo>
                    <a:pt x="4960" y="3888"/>
                  </a:lnTo>
                  <a:lnTo>
                    <a:pt x="4918" y="3832"/>
                  </a:lnTo>
                  <a:lnTo>
                    <a:pt x="4925" y="3770"/>
                  </a:lnTo>
                  <a:lnTo>
                    <a:pt x="4890" y="3721"/>
                  </a:lnTo>
                  <a:lnTo>
                    <a:pt x="4911" y="3735"/>
                  </a:lnTo>
                  <a:lnTo>
                    <a:pt x="4883" y="3700"/>
                  </a:lnTo>
                  <a:lnTo>
                    <a:pt x="4848" y="3672"/>
                  </a:lnTo>
                  <a:lnTo>
                    <a:pt x="4828" y="3651"/>
                  </a:lnTo>
                  <a:lnTo>
                    <a:pt x="4786" y="3645"/>
                  </a:lnTo>
                  <a:lnTo>
                    <a:pt x="4661" y="3617"/>
                  </a:lnTo>
                  <a:lnTo>
                    <a:pt x="4598" y="3610"/>
                  </a:lnTo>
                  <a:lnTo>
                    <a:pt x="4417" y="3610"/>
                  </a:lnTo>
                  <a:lnTo>
                    <a:pt x="4236" y="3617"/>
                  </a:lnTo>
                  <a:lnTo>
                    <a:pt x="4236" y="3603"/>
                  </a:lnTo>
                  <a:lnTo>
                    <a:pt x="4174" y="3575"/>
                  </a:lnTo>
                  <a:lnTo>
                    <a:pt x="4160" y="3568"/>
                  </a:lnTo>
                  <a:lnTo>
                    <a:pt x="4111" y="3540"/>
                  </a:lnTo>
                  <a:lnTo>
                    <a:pt x="4090" y="3540"/>
                  </a:lnTo>
                  <a:lnTo>
                    <a:pt x="4041" y="3526"/>
                  </a:lnTo>
                  <a:lnTo>
                    <a:pt x="4035" y="3512"/>
                  </a:lnTo>
                  <a:lnTo>
                    <a:pt x="3965" y="3478"/>
                  </a:lnTo>
                  <a:lnTo>
                    <a:pt x="3944" y="3478"/>
                  </a:lnTo>
                  <a:lnTo>
                    <a:pt x="3909" y="3450"/>
                  </a:lnTo>
                  <a:lnTo>
                    <a:pt x="3874" y="3429"/>
                  </a:lnTo>
                  <a:lnTo>
                    <a:pt x="3868" y="3429"/>
                  </a:lnTo>
                  <a:lnTo>
                    <a:pt x="3791" y="3380"/>
                  </a:lnTo>
                  <a:lnTo>
                    <a:pt x="3749" y="3373"/>
                  </a:lnTo>
                  <a:lnTo>
                    <a:pt x="3742" y="3352"/>
                  </a:lnTo>
                  <a:lnTo>
                    <a:pt x="3798" y="3338"/>
                  </a:lnTo>
                  <a:lnTo>
                    <a:pt x="3826" y="3283"/>
                  </a:lnTo>
                  <a:lnTo>
                    <a:pt x="3777" y="3220"/>
                  </a:lnTo>
                  <a:lnTo>
                    <a:pt x="3707" y="3220"/>
                  </a:lnTo>
                  <a:lnTo>
                    <a:pt x="3701" y="3178"/>
                  </a:lnTo>
                  <a:lnTo>
                    <a:pt x="3617" y="3130"/>
                  </a:lnTo>
                  <a:lnTo>
                    <a:pt x="3506" y="3130"/>
                  </a:lnTo>
                  <a:lnTo>
                    <a:pt x="3388" y="3185"/>
                  </a:lnTo>
                  <a:lnTo>
                    <a:pt x="3255" y="3297"/>
                  </a:lnTo>
                  <a:lnTo>
                    <a:pt x="3186" y="3387"/>
                  </a:lnTo>
                  <a:lnTo>
                    <a:pt x="3172" y="3380"/>
                  </a:lnTo>
                  <a:lnTo>
                    <a:pt x="3151" y="3373"/>
                  </a:lnTo>
                  <a:lnTo>
                    <a:pt x="3137" y="3359"/>
                  </a:lnTo>
                  <a:lnTo>
                    <a:pt x="3109" y="3324"/>
                  </a:lnTo>
                  <a:lnTo>
                    <a:pt x="3088" y="3297"/>
                  </a:lnTo>
                  <a:lnTo>
                    <a:pt x="3061" y="3248"/>
                  </a:lnTo>
                  <a:lnTo>
                    <a:pt x="3026" y="3227"/>
                  </a:lnTo>
                  <a:lnTo>
                    <a:pt x="3019" y="3227"/>
                  </a:lnTo>
                  <a:lnTo>
                    <a:pt x="2984" y="3248"/>
                  </a:lnTo>
                  <a:lnTo>
                    <a:pt x="2949" y="3220"/>
                  </a:lnTo>
                  <a:lnTo>
                    <a:pt x="2977" y="3158"/>
                  </a:lnTo>
                  <a:lnTo>
                    <a:pt x="2949" y="3123"/>
                  </a:lnTo>
                  <a:lnTo>
                    <a:pt x="2949" y="3095"/>
                  </a:lnTo>
                  <a:lnTo>
                    <a:pt x="2921" y="3060"/>
                  </a:lnTo>
                  <a:lnTo>
                    <a:pt x="2942" y="2991"/>
                  </a:lnTo>
                  <a:lnTo>
                    <a:pt x="2928" y="2963"/>
                  </a:lnTo>
                  <a:lnTo>
                    <a:pt x="2956" y="2949"/>
                  </a:lnTo>
                  <a:lnTo>
                    <a:pt x="2928" y="2886"/>
                  </a:lnTo>
                  <a:lnTo>
                    <a:pt x="2956" y="2754"/>
                  </a:lnTo>
                  <a:lnTo>
                    <a:pt x="2928" y="2740"/>
                  </a:lnTo>
                  <a:lnTo>
                    <a:pt x="2907" y="2726"/>
                  </a:lnTo>
                  <a:lnTo>
                    <a:pt x="2921" y="2719"/>
                  </a:lnTo>
                  <a:lnTo>
                    <a:pt x="2949" y="2699"/>
                  </a:lnTo>
                  <a:lnTo>
                    <a:pt x="2852" y="2622"/>
                  </a:lnTo>
                  <a:lnTo>
                    <a:pt x="2852" y="2650"/>
                  </a:lnTo>
                  <a:lnTo>
                    <a:pt x="2831" y="2657"/>
                  </a:lnTo>
                  <a:lnTo>
                    <a:pt x="2831" y="2636"/>
                  </a:lnTo>
                  <a:lnTo>
                    <a:pt x="2824" y="2636"/>
                  </a:lnTo>
                  <a:lnTo>
                    <a:pt x="2810" y="2636"/>
                  </a:lnTo>
                  <a:lnTo>
                    <a:pt x="2810" y="2629"/>
                  </a:lnTo>
                  <a:lnTo>
                    <a:pt x="2789" y="2622"/>
                  </a:lnTo>
                  <a:lnTo>
                    <a:pt x="2734" y="2622"/>
                  </a:lnTo>
                  <a:lnTo>
                    <a:pt x="2727" y="2594"/>
                  </a:lnTo>
                  <a:lnTo>
                    <a:pt x="2699" y="2601"/>
                  </a:lnTo>
                  <a:lnTo>
                    <a:pt x="2699" y="2629"/>
                  </a:lnTo>
                  <a:lnTo>
                    <a:pt x="2699" y="2657"/>
                  </a:lnTo>
                  <a:lnTo>
                    <a:pt x="2699" y="2636"/>
                  </a:lnTo>
                  <a:lnTo>
                    <a:pt x="2692" y="2657"/>
                  </a:lnTo>
                  <a:lnTo>
                    <a:pt x="2678" y="2608"/>
                  </a:lnTo>
                  <a:lnTo>
                    <a:pt x="2657" y="2608"/>
                  </a:lnTo>
                  <a:lnTo>
                    <a:pt x="2650" y="2622"/>
                  </a:lnTo>
                  <a:lnTo>
                    <a:pt x="2636" y="2636"/>
                  </a:lnTo>
                  <a:lnTo>
                    <a:pt x="2650" y="2657"/>
                  </a:lnTo>
                  <a:lnTo>
                    <a:pt x="2650" y="2671"/>
                  </a:lnTo>
                  <a:lnTo>
                    <a:pt x="2615" y="2657"/>
                  </a:lnTo>
                  <a:lnTo>
                    <a:pt x="2615" y="2650"/>
                  </a:lnTo>
                  <a:lnTo>
                    <a:pt x="2615" y="2629"/>
                  </a:lnTo>
                  <a:lnTo>
                    <a:pt x="2588" y="2594"/>
                  </a:lnTo>
                  <a:lnTo>
                    <a:pt x="2567" y="2629"/>
                  </a:lnTo>
                  <a:lnTo>
                    <a:pt x="2462" y="2726"/>
                  </a:lnTo>
                  <a:lnTo>
                    <a:pt x="2435" y="2726"/>
                  </a:lnTo>
                  <a:lnTo>
                    <a:pt x="2421" y="2719"/>
                  </a:lnTo>
                  <a:lnTo>
                    <a:pt x="2400" y="2671"/>
                  </a:lnTo>
                  <a:lnTo>
                    <a:pt x="2337" y="2622"/>
                  </a:lnTo>
                  <a:lnTo>
                    <a:pt x="2295" y="2566"/>
                  </a:lnTo>
                  <a:lnTo>
                    <a:pt x="2219" y="2518"/>
                  </a:lnTo>
                  <a:lnTo>
                    <a:pt x="2177" y="2441"/>
                  </a:lnTo>
                  <a:lnTo>
                    <a:pt x="2156" y="2434"/>
                  </a:lnTo>
                  <a:lnTo>
                    <a:pt x="2129" y="2337"/>
                  </a:lnTo>
                  <a:lnTo>
                    <a:pt x="2094" y="2260"/>
                  </a:lnTo>
                  <a:lnTo>
                    <a:pt x="2045" y="2232"/>
                  </a:lnTo>
                  <a:lnTo>
                    <a:pt x="2003" y="2239"/>
                  </a:lnTo>
                  <a:lnTo>
                    <a:pt x="1962" y="2302"/>
                  </a:lnTo>
                  <a:lnTo>
                    <a:pt x="1934" y="2267"/>
                  </a:lnTo>
                  <a:lnTo>
                    <a:pt x="1795" y="2198"/>
                  </a:lnTo>
                  <a:lnTo>
                    <a:pt x="1718" y="2163"/>
                  </a:lnTo>
                  <a:lnTo>
                    <a:pt x="1711" y="2135"/>
                  </a:lnTo>
                  <a:lnTo>
                    <a:pt x="1774" y="2135"/>
                  </a:lnTo>
                  <a:lnTo>
                    <a:pt x="1808" y="2065"/>
                  </a:lnTo>
                  <a:lnTo>
                    <a:pt x="1808" y="2017"/>
                  </a:lnTo>
                  <a:lnTo>
                    <a:pt x="1829" y="2010"/>
                  </a:lnTo>
                  <a:lnTo>
                    <a:pt x="1815" y="1982"/>
                  </a:lnTo>
                  <a:lnTo>
                    <a:pt x="1774" y="1940"/>
                  </a:lnTo>
                  <a:lnTo>
                    <a:pt x="1753" y="1961"/>
                  </a:lnTo>
                  <a:lnTo>
                    <a:pt x="1732" y="1912"/>
                  </a:lnTo>
                  <a:lnTo>
                    <a:pt x="1732" y="1878"/>
                  </a:lnTo>
                  <a:lnTo>
                    <a:pt x="1683" y="1871"/>
                  </a:lnTo>
                  <a:lnTo>
                    <a:pt x="1683" y="1843"/>
                  </a:lnTo>
                  <a:lnTo>
                    <a:pt x="1662" y="1829"/>
                  </a:lnTo>
                  <a:lnTo>
                    <a:pt x="1641" y="1836"/>
                  </a:lnTo>
                  <a:lnTo>
                    <a:pt x="1600" y="1801"/>
                  </a:lnTo>
                  <a:lnTo>
                    <a:pt x="1579" y="1808"/>
                  </a:lnTo>
                  <a:lnTo>
                    <a:pt x="1565" y="1773"/>
                  </a:lnTo>
                  <a:lnTo>
                    <a:pt x="1544" y="1773"/>
                  </a:lnTo>
                  <a:lnTo>
                    <a:pt x="1537" y="1780"/>
                  </a:lnTo>
                  <a:lnTo>
                    <a:pt x="1516" y="1780"/>
                  </a:lnTo>
                  <a:lnTo>
                    <a:pt x="1509" y="1801"/>
                  </a:lnTo>
                  <a:lnTo>
                    <a:pt x="1481" y="1787"/>
                  </a:lnTo>
                  <a:lnTo>
                    <a:pt x="1474" y="1815"/>
                  </a:lnTo>
                  <a:lnTo>
                    <a:pt x="1440" y="1829"/>
                  </a:lnTo>
                  <a:lnTo>
                    <a:pt x="1440" y="1836"/>
                  </a:lnTo>
                  <a:lnTo>
                    <a:pt x="1433" y="1871"/>
                  </a:lnTo>
                  <a:lnTo>
                    <a:pt x="1377" y="1884"/>
                  </a:lnTo>
                  <a:lnTo>
                    <a:pt x="1349" y="1871"/>
                  </a:lnTo>
                  <a:lnTo>
                    <a:pt x="1322" y="1864"/>
                  </a:lnTo>
                  <a:lnTo>
                    <a:pt x="1314" y="1878"/>
                  </a:lnTo>
                  <a:lnTo>
                    <a:pt x="1238" y="1884"/>
                  </a:lnTo>
                  <a:lnTo>
                    <a:pt x="1210" y="1878"/>
                  </a:lnTo>
                  <a:lnTo>
                    <a:pt x="1189" y="1878"/>
                  </a:lnTo>
                  <a:lnTo>
                    <a:pt x="1155" y="1864"/>
                  </a:lnTo>
                  <a:lnTo>
                    <a:pt x="1057" y="1871"/>
                  </a:lnTo>
                  <a:lnTo>
                    <a:pt x="1008" y="1912"/>
                  </a:lnTo>
                  <a:lnTo>
                    <a:pt x="1008" y="1947"/>
                  </a:lnTo>
                  <a:lnTo>
                    <a:pt x="995" y="1947"/>
                  </a:lnTo>
                  <a:lnTo>
                    <a:pt x="897" y="1905"/>
                  </a:lnTo>
                  <a:lnTo>
                    <a:pt x="862" y="1905"/>
                  </a:lnTo>
                  <a:lnTo>
                    <a:pt x="800" y="1864"/>
                  </a:lnTo>
                  <a:lnTo>
                    <a:pt x="765" y="1843"/>
                  </a:lnTo>
                  <a:lnTo>
                    <a:pt x="723" y="1884"/>
                  </a:lnTo>
                  <a:lnTo>
                    <a:pt x="695" y="1878"/>
                  </a:lnTo>
                  <a:lnTo>
                    <a:pt x="626" y="1843"/>
                  </a:lnTo>
                  <a:lnTo>
                    <a:pt x="598" y="1871"/>
                  </a:lnTo>
                  <a:lnTo>
                    <a:pt x="584" y="1864"/>
                  </a:lnTo>
                  <a:lnTo>
                    <a:pt x="549" y="1843"/>
                  </a:lnTo>
                  <a:lnTo>
                    <a:pt x="549" y="1829"/>
                  </a:lnTo>
                  <a:lnTo>
                    <a:pt x="501" y="1766"/>
                  </a:lnTo>
                  <a:lnTo>
                    <a:pt x="501" y="1773"/>
                  </a:lnTo>
                  <a:lnTo>
                    <a:pt x="473" y="1766"/>
                  </a:lnTo>
                  <a:lnTo>
                    <a:pt x="459" y="1732"/>
                  </a:lnTo>
                  <a:lnTo>
                    <a:pt x="487" y="1676"/>
                  </a:lnTo>
                  <a:lnTo>
                    <a:pt x="549" y="1641"/>
                  </a:lnTo>
                  <a:lnTo>
                    <a:pt x="521" y="1578"/>
                  </a:lnTo>
                  <a:lnTo>
                    <a:pt x="521" y="1558"/>
                  </a:lnTo>
                  <a:lnTo>
                    <a:pt x="570" y="1544"/>
                  </a:lnTo>
                  <a:lnTo>
                    <a:pt x="521" y="1481"/>
                  </a:lnTo>
                  <a:lnTo>
                    <a:pt x="473" y="1488"/>
                  </a:lnTo>
                  <a:lnTo>
                    <a:pt x="466" y="1474"/>
                  </a:lnTo>
                  <a:lnTo>
                    <a:pt x="452" y="1460"/>
                  </a:lnTo>
                  <a:lnTo>
                    <a:pt x="452" y="1446"/>
                  </a:lnTo>
                  <a:lnTo>
                    <a:pt x="361" y="1460"/>
                  </a:lnTo>
                  <a:lnTo>
                    <a:pt x="334" y="1446"/>
                  </a:lnTo>
                  <a:lnTo>
                    <a:pt x="340" y="1439"/>
                  </a:lnTo>
                  <a:lnTo>
                    <a:pt x="320" y="1406"/>
                  </a:lnTo>
                  <a:lnTo>
                    <a:pt x="327" y="1378"/>
                  </a:lnTo>
                  <a:lnTo>
                    <a:pt x="229" y="1350"/>
                  </a:lnTo>
                  <a:lnTo>
                    <a:pt x="222" y="1308"/>
                  </a:lnTo>
                  <a:lnTo>
                    <a:pt x="208" y="1259"/>
                  </a:lnTo>
                  <a:lnTo>
                    <a:pt x="236" y="1225"/>
                  </a:lnTo>
                  <a:lnTo>
                    <a:pt x="271" y="1218"/>
                  </a:lnTo>
                  <a:lnTo>
                    <a:pt x="257" y="1176"/>
                  </a:lnTo>
                  <a:lnTo>
                    <a:pt x="271" y="1155"/>
                  </a:lnTo>
                  <a:lnTo>
                    <a:pt x="271" y="1127"/>
                  </a:lnTo>
                  <a:lnTo>
                    <a:pt x="194" y="1099"/>
                  </a:lnTo>
                  <a:lnTo>
                    <a:pt x="181" y="1078"/>
                  </a:lnTo>
                  <a:lnTo>
                    <a:pt x="167" y="1086"/>
                  </a:lnTo>
                  <a:lnTo>
                    <a:pt x="167" y="1058"/>
                  </a:lnTo>
                  <a:lnTo>
                    <a:pt x="139" y="1023"/>
                  </a:lnTo>
                  <a:lnTo>
                    <a:pt x="125" y="1002"/>
                  </a:lnTo>
                  <a:lnTo>
                    <a:pt x="48" y="932"/>
                  </a:lnTo>
                  <a:lnTo>
                    <a:pt x="28" y="926"/>
                  </a:lnTo>
                  <a:lnTo>
                    <a:pt x="7" y="884"/>
                  </a:lnTo>
                  <a:lnTo>
                    <a:pt x="14" y="856"/>
                  </a:lnTo>
                  <a:lnTo>
                    <a:pt x="28" y="828"/>
                  </a:lnTo>
                  <a:lnTo>
                    <a:pt x="28" y="793"/>
                  </a:lnTo>
                  <a:lnTo>
                    <a:pt x="28" y="738"/>
                  </a:lnTo>
                  <a:lnTo>
                    <a:pt x="0" y="717"/>
                  </a:lnTo>
                  <a:lnTo>
                    <a:pt x="34" y="668"/>
                  </a:lnTo>
                  <a:lnTo>
                    <a:pt x="48" y="661"/>
                  </a:lnTo>
                  <a:lnTo>
                    <a:pt x="97" y="689"/>
                  </a:lnTo>
                  <a:lnTo>
                    <a:pt x="104" y="696"/>
                  </a:lnTo>
                  <a:lnTo>
                    <a:pt x="132" y="717"/>
                  </a:lnTo>
                  <a:lnTo>
                    <a:pt x="160" y="717"/>
                  </a:lnTo>
                  <a:lnTo>
                    <a:pt x="167" y="682"/>
                  </a:lnTo>
                  <a:lnTo>
                    <a:pt x="181" y="682"/>
                  </a:lnTo>
                  <a:lnTo>
                    <a:pt x="194" y="640"/>
                  </a:lnTo>
                  <a:lnTo>
                    <a:pt x="264" y="605"/>
                  </a:lnTo>
                  <a:lnTo>
                    <a:pt x="264" y="592"/>
                  </a:lnTo>
                  <a:lnTo>
                    <a:pt x="278" y="599"/>
                  </a:lnTo>
                  <a:lnTo>
                    <a:pt x="292" y="571"/>
                  </a:lnTo>
                  <a:lnTo>
                    <a:pt x="320" y="557"/>
                  </a:lnTo>
                  <a:lnTo>
                    <a:pt x="375" y="529"/>
                  </a:lnTo>
                  <a:lnTo>
                    <a:pt x="368" y="522"/>
                  </a:lnTo>
                  <a:lnTo>
                    <a:pt x="320" y="494"/>
                  </a:lnTo>
                  <a:lnTo>
                    <a:pt x="278" y="432"/>
                  </a:lnTo>
                  <a:lnTo>
                    <a:pt x="306" y="432"/>
                  </a:lnTo>
                  <a:lnTo>
                    <a:pt x="278" y="397"/>
                  </a:lnTo>
                  <a:lnTo>
                    <a:pt x="278" y="376"/>
                  </a:lnTo>
                  <a:lnTo>
                    <a:pt x="292" y="355"/>
                  </a:lnTo>
                  <a:lnTo>
                    <a:pt x="299" y="299"/>
                  </a:lnTo>
                  <a:lnTo>
                    <a:pt x="278" y="265"/>
                  </a:lnTo>
                  <a:lnTo>
                    <a:pt x="278" y="258"/>
                  </a:lnTo>
                  <a:lnTo>
                    <a:pt x="306" y="202"/>
                  </a:lnTo>
                  <a:lnTo>
                    <a:pt x="340" y="146"/>
                  </a:lnTo>
                  <a:lnTo>
                    <a:pt x="334" y="63"/>
                  </a:lnTo>
                  <a:lnTo>
                    <a:pt x="340" y="42"/>
                  </a:lnTo>
                  <a:lnTo>
                    <a:pt x="494" y="63"/>
                  </a:lnTo>
                  <a:lnTo>
                    <a:pt x="626" y="63"/>
                  </a:lnTo>
                  <a:lnTo>
                    <a:pt x="647" y="63"/>
                  </a:lnTo>
                  <a:lnTo>
                    <a:pt x="682" y="70"/>
                  </a:lnTo>
                  <a:lnTo>
                    <a:pt x="716" y="98"/>
                  </a:lnTo>
                  <a:lnTo>
                    <a:pt x="890" y="98"/>
                  </a:lnTo>
                  <a:lnTo>
                    <a:pt x="1120" y="42"/>
                  </a:lnTo>
                  <a:lnTo>
                    <a:pt x="1203" y="63"/>
                  </a:lnTo>
                  <a:lnTo>
                    <a:pt x="1273" y="70"/>
                  </a:lnTo>
                  <a:lnTo>
                    <a:pt x="1322" y="70"/>
                  </a:lnTo>
                  <a:lnTo>
                    <a:pt x="1468" y="49"/>
                  </a:lnTo>
                  <a:lnTo>
                    <a:pt x="1641" y="28"/>
                  </a:lnTo>
                  <a:lnTo>
                    <a:pt x="1739" y="0"/>
                  </a:lnTo>
                  <a:lnTo>
                    <a:pt x="1829" y="0"/>
                  </a:lnTo>
                  <a:lnTo>
                    <a:pt x="1899" y="14"/>
                  </a:lnTo>
                  <a:lnTo>
                    <a:pt x="1913" y="35"/>
                  </a:lnTo>
                  <a:lnTo>
                    <a:pt x="1941" y="42"/>
                  </a:lnTo>
                  <a:lnTo>
                    <a:pt x="1982" y="70"/>
                  </a:lnTo>
                  <a:lnTo>
                    <a:pt x="2010" y="98"/>
                  </a:lnTo>
                  <a:lnTo>
                    <a:pt x="2045" y="132"/>
                  </a:lnTo>
                  <a:lnTo>
                    <a:pt x="2059" y="132"/>
                  </a:lnTo>
                  <a:lnTo>
                    <a:pt x="2066" y="140"/>
                  </a:lnTo>
                  <a:lnTo>
                    <a:pt x="2045" y="202"/>
                  </a:lnTo>
                  <a:lnTo>
                    <a:pt x="2073" y="244"/>
                  </a:lnTo>
                  <a:lnTo>
                    <a:pt x="2080" y="265"/>
                  </a:lnTo>
                  <a:lnTo>
                    <a:pt x="2080" y="299"/>
                  </a:lnTo>
                  <a:lnTo>
                    <a:pt x="2073" y="355"/>
                  </a:lnTo>
                  <a:lnTo>
                    <a:pt x="2045" y="397"/>
                  </a:lnTo>
                  <a:lnTo>
                    <a:pt x="2038" y="397"/>
                  </a:lnTo>
                  <a:lnTo>
                    <a:pt x="2031" y="404"/>
                  </a:lnTo>
                  <a:lnTo>
                    <a:pt x="2031" y="411"/>
                  </a:lnTo>
                  <a:lnTo>
                    <a:pt x="1968" y="459"/>
                  </a:lnTo>
                  <a:lnTo>
                    <a:pt x="1899" y="508"/>
                  </a:lnTo>
                  <a:lnTo>
                    <a:pt x="1871" y="557"/>
                  </a:lnTo>
                  <a:lnTo>
                    <a:pt x="1829" y="585"/>
                  </a:lnTo>
                  <a:lnTo>
                    <a:pt x="1662" y="682"/>
                  </a:lnTo>
                  <a:lnTo>
                    <a:pt x="1586" y="738"/>
                  </a:lnTo>
                  <a:lnTo>
                    <a:pt x="1579" y="793"/>
                  </a:lnTo>
                  <a:lnTo>
                    <a:pt x="1607" y="926"/>
                  </a:lnTo>
                  <a:lnTo>
                    <a:pt x="1635" y="995"/>
                  </a:lnTo>
                  <a:lnTo>
                    <a:pt x="1718" y="1093"/>
                  </a:lnTo>
                  <a:lnTo>
                    <a:pt x="1801" y="1141"/>
                  </a:lnTo>
                  <a:lnTo>
                    <a:pt x="2080" y="1280"/>
                  </a:lnTo>
                  <a:lnTo>
                    <a:pt x="2101" y="1287"/>
                  </a:lnTo>
                  <a:lnTo>
                    <a:pt x="2198" y="1357"/>
                  </a:lnTo>
                  <a:lnTo>
                    <a:pt x="2351" y="1406"/>
                  </a:lnTo>
                  <a:lnTo>
                    <a:pt x="2462" y="1474"/>
                  </a:lnTo>
                  <a:lnTo>
                    <a:pt x="2497" y="1502"/>
                  </a:lnTo>
                  <a:lnTo>
                    <a:pt x="2525" y="1516"/>
                  </a:lnTo>
                  <a:lnTo>
                    <a:pt x="2594" y="1537"/>
                  </a:lnTo>
                  <a:lnTo>
                    <a:pt x="2650" y="1571"/>
                  </a:lnTo>
                  <a:lnTo>
                    <a:pt x="2657" y="1571"/>
                  </a:lnTo>
                  <a:lnTo>
                    <a:pt x="2748" y="1620"/>
                  </a:lnTo>
                  <a:lnTo>
                    <a:pt x="2817" y="1648"/>
                  </a:lnTo>
                  <a:lnTo>
                    <a:pt x="2880" y="1669"/>
                  </a:lnTo>
                  <a:lnTo>
                    <a:pt x="2963" y="1704"/>
                  </a:lnTo>
                  <a:lnTo>
                    <a:pt x="3061" y="1745"/>
                  </a:lnTo>
                  <a:lnTo>
                    <a:pt x="3137" y="1780"/>
                  </a:lnTo>
                  <a:lnTo>
                    <a:pt x="3151" y="1773"/>
                  </a:lnTo>
                  <a:lnTo>
                    <a:pt x="3179" y="1787"/>
                  </a:lnTo>
                  <a:lnTo>
                    <a:pt x="3193" y="1773"/>
                  </a:lnTo>
                  <a:lnTo>
                    <a:pt x="3207" y="1808"/>
                  </a:lnTo>
                  <a:lnTo>
                    <a:pt x="3339" y="1864"/>
                  </a:lnTo>
                  <a:lnTo>
                    <a:pt x="3464" y="1898"/>
                  </a:lnTo>
                  <a:lnTo>
                    <a:pt x="3596" y="1961"/>
                  </a:lnTo>
                  <a:lnTo>
                    <a:pt x="3645" y="1996"/>
                  </a:lnTo>
                  <a:lnTo>
                    <a:pt x="3707" y="2031"/>
                  </a:lnTo>
                  <a:lnTo>
                    <a:pt x="3735" y="2065"/>
                  </a:lnTo>
                  <a:lnTo>
                    <a:pt x="3826" y="2107"/>
                  </a:lnTo>
                  <a:lnTo>
                    <a:pt x="3833" y="2114"/>
                  </a:lnTo>
                  <a:lnTo>
                    <a:pt x="3909" y="2191"/>
                  </a:lnTo>
                  <a:lnTo>
                    <a:pt x="3972" y="2267"/>
                  </a:lnTo>
                  <a:lnTo>
                    <a:pt x="4041" y="2309"/>
                  </a:lnTo>
                  <a:lnTo>
                    <a:pt x="4139" y="2392"/>
                  </a:lnTo>
                  <a:lnTo>
                    <a:pt x="4174" y="2427"/>
                  </a:lnTo>
                  <a:lnTo>
                    <a:pt x="4257" y="2476"/>
                  </a:lnTo>
                  <a:lnTo>
                    <a:pt x="4522" y="2587"/>
                  </a:lnTo>
                  <a:lnTo>
                    <a:pt x="4626" y="2650"/>
                  </a:lnTo>
                  <a:lnTo>
                    <a:pt x="4709" y="2691"/>
                  </a:lnTo>
                  <a:lnTo>
                    <a:pt x="4723" y="2699"/>
                  </a:lnTo>
                  <a:lnTo>
                    <a:pt x="4723" y="2719"/>
                  </a:lnTo>
                  <a:lnTo>
                    <a:pt x="4821" y="2761"/>
                  </a:lnTo>
                  <a:lnTo>
                    <a:pt x="4946" y="2768"/>
                  </a:lnTo>
                  <a:lnTo>
                    <a:pt x="4988" y="2817"/>
                  </a:lnTo>
                  <a:lnTo>
                    <a:pt x="5008" y="2817"/>
                  </a:lnTo>
                  <a:lnTo>
                    <a:pt x="4995" y="2824"/>
                  </a:lnTo>
                  <a:lnTo>
                    <a:pt x="4988" y="2824"/>
                  </a:lnTo>
                  <a:lnTo>
                    <a:pt x="4960" y="2851"/>
                  </a:lnTo>
                  <a:lnTo>
                    <a:pt x="4946" y="2865"/>
                  </a:lnTo>
                  <a:lnTo>
                    <a:pt x="4974" y="2858"/>
                  </a:lnTo>
                  <a:lnTo>
                    <a:pt x="4974" y="2865"/>
                  </a:lnTo>
                  <a:lnTo>
                    <a:pt x="4988" y="2851"/>
                  </a:lnTo>
                  <a:lnTo>
                    <a:pt x="5050" y="2838"/>
                  </a:lnTo>
                  <a:lnTo>
                    <a:pt x="5057" y="2831"/>
                  </a:lnTo>
                  <a:lnTo>
                    <a:pt x="5071" y="2858"/>
                  </a:lnTo>
                  <a:lnTo>
                    <a:pt x="5085" y="2858"/>
                  </a:lnTo>
                  <a:lnTo>
                    <a:pt x="5085" y="2900"/>
                  </a:lnTo>
                  <a:lnTo>
                    <a:pt x="5120" y="2963"/>
                  </a:lnTo>
                  <a:lnTo>
                    <a:pt x="5113" y="3025"/>
                  </a:lnTo>
                  <a:lnTo>
                    <a:pt x="5127" y="3046"/>
                  </a:lnTo>
                  <a:lnTo>
                    <a:pt x="5175" y="3081"/>
                  </a:lnTo>
                  <a:lnTo>
                    <a:pt x="5217" y="313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1" name="Freeform 50"/>
            <p:cNvSpPr>
              <a:spLocks noChangeArrowheads="1"/>
            </p:cNvSpPr>
            <p:nvPr/>
          </p:nvSpPr>
          <p:spPr bwMode="auto">
            <a:xfrm>
              <a:off x="19906625" y="7639548"/>
              <a:ext cx="10354" cy="20712"/>
            </a:xfrm>
            <a:custGeom>
              <a:avLst/>
              <a:gdLst>
                <a:gd name="T0" fmla="*/ 0 w 22"/>
                <a:gd name="T1" fmla="*/ 35 h 42"/>
                <a:gd name="T2" fmla="*/ 14 w 22"/>
                <a:gd name="T3" fmla="*/ 0 h 42"/>
                <a:gd name="T4" fmla="*/ 21 w 22"/>
                <a:gd name="T5" fmla="*/ 7 h 42"/>
                <a:gd name="T6" fmla="*/ 0 w 22"/>
                <a:gd name="T7" fmla="*/ 41 h 42"/>
                <a:gd name="T8" fmla="*/ 0 w 22"/>
                <a:gd name="T9" fmla="*/ 3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2">
                  <a:moveTo>
                    <a:pt x="0" y="35"/>
                  </a:moveTo>
                  <a:lnTo>
                    <a:pt x="14" y="0"/>
                  </a:lnTo>
                  <a:lnTo>
                    <a:pt x="21" y="7"/>
                  </a:lnTo>
                  <a:lnTo>
                    <a:pt x="0" y="41"/>
                  </a:lnTo>
                  <a:lnTo>
                    <a:pt x="0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2" name="Freeform 51"/>
            <p:cNvSpPr>
              <a:spLocks noChangeArrowheads="1"/>
            </p:cNvSpPr>
            <p:nvPr/>
          </p:nvSpPr>
          <p:spPr bwMode="auto">
            <a:xfrm>
              <a:off x="19921122" y="7629191"/>
              <a:ext cx="10356" cy="14498"/>
            </a:xfrm>
            <a:custGeom>
              <a:avLst/>
              <a:gdLst>
                <a:gd name="T0" fmla="*/ 0 w 22"/>
                <a:gd name="T1" fmla="*/ 28 h 29"/>
                <a:gd name="T2" fmla="*/ 21 w 22"/>
                <a:gd name="T3" fmla="*/ 0 h 29"/>
                <a:gd name="T4" fmla="*/ 14 w 22"/>
                <a:gd name="T5" fmla="*/ 0 h 29"/>
                <a:gd name="T6" fmla="*/ 0 w 22"/>
                <a:gd name="T7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9">
                  <a:moveTo>
                    <a:pt x="0" y="28"/>
                  </a:moveTo>
                  <a:lnTo>
                    <a:pt x="21" y="0"/>
                  </a:lnTo>
                  <a:lnTo>
                    <a:pt x="14" y="0"/>
                  </a:lnTo>
                  <a:lnTo>
                    <a:pt x="0" y="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3" name="Freeform 52"/>
            <p:cNvSpPr>
              <a:spLocks noChangeArrowheads="1"/>
            </p:cNvSpPr>
            <p:nvPr/>
          </p:nvSpPr>
          <p:spPr bwMode="auto">
            <a:xfrm>
              <a:off x="19925264" y="7620908"/>
              <a:ext cx="6214" cy="10356"/>
            </a:xfrm>
            <a:custGeom>
              <a:avLst/>
              <a:gdLst>
                <a:gd name="T0" fmla="*/ 0 w 15"/>
                <a:gd name="T1" fmla="*/ 14 h 22"/>
                <a:gd name="T2" fmla="*/ 14 w 15"/>
                <a:gd name="T3" fmla="*/ 0 h 22"/>
                <a:gd name="T4" fmla="*/ 0 w 15"/>
                <a:gd name="T5" fmla="*/ 21 h 22"/>
                <a:gd name="T6" fmla="*/ 0 w 15"/>
                <a:gd name="T7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2">
                  <a:moveTo>
                    <a:pt x="0" y="14"/>
                  </a:moveTo>
                  <a:lnTo>
                    <a:pt x="14" y="0"/>
                  </a:lnTo>
                  <a:lnTo>
                    <a:pt x="0" y="21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4" name="Freeform 53"/>
            <p:cNvSpPr>
              <a:spLocks noChangeArrowheads="1"/>
            </p:cNvSpPr>
            <p:nvPr/>
          </p:nvSpPr>
          <p:spPr bwMode="auto">
            <a:xfrm>
              <a:off x="20122020" y="7521487"/>
              <a:ext cx="4142" cy="6213"/>
            </a:xfrm>
            <a:custGeom>
              <a:avLst/>
              <a:gdLst>
                <a:gd name="T0" fmla="*/ 0 w 8"/>
                <a:gd name="T1" fmla="*/ 0 h 15"/>
                <a:gd name="T2" fmla="*/ 7 w 8"/>
                <a:gd name="T3" fmla="*/ 0 h 15"/>
                <a:gd name="T4" fmla="*/ 0 w 8"/>
                <a:gd name="T5" fmla="*/ 14 h 15"/>
                <a:gd name="T6" fmla="*/ 0 w 8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5">
                  <a:moveTo>
                    <a:pt x="0" y="0"/>
                  </a:moveTo>
                  <a:lnTo>
                    <a:pt x="7" y="0"/>
                  </a:lnTo>
                  <a:lnTo>
                    <a:pt x="0" y="14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5" name="Freeform 54"/>
            <p:cNvSpPr>
              <a:spLocks noChangeArrowheads="1"/>
            </p:cNvSpPr>
            <p:nvPr/>
          </p:nvSpPr>
          <p:spPr bwMode="auto">
            <a:xfrm>
              <a:off x="21807903" y="9775002"/>
              <a:ext cx="10354" cy="4142"/>
            </a:xfrm>
            <a:custGeom>
              <a:avLst/>
              <a:gdLst>
                <a:gd name="T0" fmla="*/ 0 w 22"/>
                <a:gd name="T1" fmla="*/ 7 h 8"/>
                <a:gd name="T2" fmla="*/ 21 w 22"/>
                <a:gd name="T3" fmla="*/ 0 h 8"/>
                <a:gd name="T4" fmla="*/ 0 w 22"/>
                <a:gd name="T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8">
                  <a:moveTo>
                    <a:pt x="0" y="7"/>
                  </a:moveTo>
                  <a:lnTo>
                    <a:pt x="21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6" name="Freeform 55"/>
            <p:cNvSpPr>
              <a:spLocks noChangeArrowheads="1"/>
            </p:cNvSpPr>
            <p:nvPr/>
          </p:nvSpPr>
          <p:spPr bwMode="auto">
            <a:xfrm>
              <a:off x="21188641" y="9354539"/>
              <a:ext cx="14498" cy="14499"/>
            </a:xfrm>
            <a:custGeom>
              <a:avLst/>
              <a:gdLst>
                <a:gd name="T0" fmla="*/ 28 w 29"/>
                <a:gd name="T1" fmla="*/ 0 h 29"/>
                <a:gd name="T2" fmla="*/ 28 w 29"/>
                <a:gd name="T3" fmla="*/ 28 h 29"/>
                <a:gd name="T4" fmla="*/ 0 w 29"/>
                <a:gd name="T5" fmla="*/ 21 h 29"/>
                <a:gd name="T6" fmla="*/ 28 w 29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9">
                  <a:moveTo>
                    <a:pt x="28" y="0"/>
                  </a:moveTo>
                  <a:lnTo>
                    <a:pt x="28" y="28"/>
                  </a:lnTo>
                  <a:lnTo>
                    <a:pt x="0" y="21"/>
                  </a:lnTo>
                  <a:lnTo>
                    <a:pt x="28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7" name="Freeform 56"/>
            <p:cNvSpPr>
              <a:spLocks noChangeArrowheads="1"/>
            </p:cNvSpPr>
            <p:nvPr/>
          </p:nvSpPr>
          <p:spPr bwMode="auto">
            <a:xfrm>
              <a:off x="18297372" y="9004499"/>
              <a:ext cx="22783" cy="10356"/>
            </a:xfrm>
            <a:custGeom>
              <a:avLst/>
              <a:gdLst>
                <a:gd name="T0" fmla="*/ 49 w 50"/>
                <a:gd name="T1" fmla="*/ 0 h 21"/>
                <a:gd name="T2" fmla="*/ 49 w 50"/>
                <a:gd name="T3" fmla="*/ 6 h 21"/>
                <a:gd name="T4" fmla="*/ 0 w 50"/>
                <a:gd name="T5" fmla="*/ 20 h 21"/>
                <a:gd name="T6" fmla="*/ 28 w 50"/>
                <a:gd name="T7" fmla="*/ 6 h 21"/>
                <a:gd name="T8" fmla="*/ 49 w 5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1">
                  <a:moveTo>
                    <a:pt x="49" y="0"/>
                  </a:moveTo>
                  <a:lnTo>
                    <a:pt x="49" y="6"/>
                  </a:lnTo>
                  <a:lnTo>
                    <a:pt x="0" y="20"/>
                  </a:lnTo>
                  <a:lnTo>
                    <a:pt x="28" y="6"/>
                  </a:lnTo>
                  <a:lnTo>
                    <a:pt x="49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8" name="Freeform 57"/>
            <p:cNvSpPr>
              <a:spLocks noChangeArrowheads="1"/>
            </p:cNvSpPr>
            <p:nvPr/>
          </p:nvSpPr>
          <p:spPr bwMode="auto">
            <a:xfrm>
              <a:off x="18330509" y="9012784"/>
              <a:ext cx="10356" cy="4142"/>
            </a:xfrm>
            <a:custGeom>
              <a:avLst/>
              <a:gdLst>
                <a:gd name="T0" fmla="*/ 14 w 22"/>
                <a:gd name="T1" fmla="*/ 0 h 7"/>
                <a:gd name="T2" fmla="*/ 21 w 22"/>
                <a:gd name="T3" fmla="*/ 6 h 7"/>
                <a:gd name="T4" fmla="*/ 0 w 22"/>
                <a:gd name="T5" fmla="*/ 6 h 7"/>
                <a:gd name="T6" fmla="*/ 14 w 22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7">
                  <a:moveTo>
                    <a:pt x="14" y="0"/>
                  </a:moveTo>
                  <a:lnTo>
                    <a:pt x="21" y="6"/>
                  </a:ln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99" name="Freeform 58"/>
            <p:cNvSpPr>
              <a:spLocks noChangeArrowheads="1"/>
            </p:cNvSpPr>
            <p:nvPr/>
          </p:nvSpPr>
          <p:spPr bwMode="auto">
            <a:xfrm>
              <a:off x="18572830" y="8273348"/>
              <a:ext cx="1582327" cy="1557576"/>
            </a:xfrm>
            <a:custGeom>
              <a:avLst/>
              <a:gdLst>
                <a:gd name="T0" fmla="*/ 2448 w 3368"/>
                <a:gd name="T1" fmla="*/ 521 h 3318"/>
                <a:gd name="T2" fmla="*/ 2386 w 3368"/>
                <a:gd name="T3" fmla="*/ 772 h 3318"/>
                <a:gd name="T4" fmla="*/ 2511 w 3368"/>
                <a:gd name="T5" fmla="*/ 904 h 3318"/>
                <a:gd name="T6" fmla="*/ 2727 w 3368"/>
                <a:gd name="T7" fmla="*/ 904 h 3318"/>
                <a:gd name="T8" fmla="*/ 2956 w 3368"/>
                <a:gd name="T9" fmla="*/ 1057 h 3318"/>
                <a:gd name="T10" fmla="*/ 2908 w 3368"/>
                <a:gd name="T11" fmla="*/ 1307 h 3318"/>
                <a:gd name="T12" fmla="*/ 2706 w 3368"/>
                <a:gd name="T13" fmla="*/ 1377 h 3318"/>
                <a:gd name="T14" fmla="*/ 2650 w 3368"/>
                <a:gd name="T15" fmla="*/ 1474 h 3318"/>
                <a:gd name="T16" fmla="*/ 2643 w 3368"/>
                <a:gd name="T17" fmla="*/ 1558 h 3318"/>
                <a:gd name="T18" fmla="*/ 2678 w 3368"/>
                <a:gd name="T19" fmla="*/ 1724 h 3318"/>
                <a:gd name="T20" fmla="*/ 2873 w 3368"/>
                <a:gd name="T21" fmla="*/ 1864 h 3318"/>
                <a:gd name="T22" fmla="*/ 2887 w 3368"/>
                <a:gd name="T23" fmla="*/ 2037 h 3318"/>
                <a:gd name="T24" fmla="*/ 2922 w 3368"/>
                <a:gd name="T25" fmla="*/ 2163 h 3318"/>
                <a:gd name="T26" fmla="*/ 3109 w 3368"/>
                <a:gd name="T27" fmla="*/ 2399 h 3318"/>
                <a:gd name="T28" fmla="*/ 3221 w 3368"/>
                <a:gd name="T29" fmla="*/ 2587 h 3318"/>
                <a:gd name="T30" fmla="*/ 3332 w 3368"/>
                <a:gd name="T31" fmla="*/ 2664 h 3318"/>
                <a:gd name="T32" fmla="*/ 3346 w 3368"/>
                <a:gd name="T33" fmla="*/ 2810 h 3318"/>
                <a:gd name="T34" fmla="*/ 3214 w 3368"/>
                <a:gd name="T35" fmla="*/ 2942 h 3318"/>
                <a:gd name="T36" fmla="*/ 3151 w 3368"/>
                <a:gd name="T37" fmla="*/ 3171 h 3318"/>
                <a:gd name="T38" fmla="*/ 2984 w 3368"/>
                <a:gd name="T39" fmla="*/ 3137 h 3318"/>
                <a:gd name="T40" fmla="*/ 2741 w 3368"/>
                <a:gd name="T41" fmla="*/ 3311 h 3318"/>
                <a:gd name="T42" fmla="*/ 2490 w 3368"/>
                <a:gd name="T43" fmla="*/ 3241 h 3318"/>
                <a:gd name="T44" fmla="*/ 2351 w 3368"/>
                <a:gd name="T45" fmla="*/ 3025 h 3318"/>
                <a:gd name="T46" fmla="*/ 2066 w 3368"/>
                <a:gd name="T47" fmla="*/ 2886 h 3318"/>
                <a:gd name="T48" fmla="*/ 1941 w 3368"/>
                <a:gd name="T49" fmla="*/ 2698 h 3318"/>
                <a:gd name="T50" fmla="*/ 1934 w 3368"/>
                <a:gd name="T51" fmla="*/ 2239 h 3318"/>
                <a:gd name="T52" fmla="*/ 1600 w 3368"/>
                <a:gd name="T53" fmla="*/ 1836 h 3318"/>
                <a:gd name="T54" fmla="*/ 1405 w 3368"/>
                <a:gd name="T55" fmla="*/ 1905 h 3318"/>
                <a:gd name="T56" fmla="*/ 1238 w 3368"/>
                <a:gd name="T57" fmla="*/ 1954 h 3318"/>
                <a:gd name="T58" fmla="*/ 1043 w 3368"/>
                <a:gd name="T59" fmla="*/ 2003 h 3318"/>
                <a:gd name="T60" fmla="*/ 960 w 3368"/>
                <a:gd name="T61" fmla="*/ 1933 h 3318"/>
                <a:gd name="T62" fmla="*/ 1057 w 3368"/>
                <a:gd name="T63" fmla="*/ 1878 h 3318"/>
                <a:gd name="T64" fmla="*/ 1134 w 3368"/>
                <a:gd name="T65" fmla="*/ 1662 h 3318"/>
                <a:gd name="T66" fmla="*/ 925 w 3368"/>
                <a:gd name="T67" fmla="*/ 1502 h 3318"/>
                <a:gd name="T68" fmla="*/ 848 w 3368"/>
                <a:gd name="T69" fmla="*/ 1467 h 3318"/>
                <a:gd name="T70" fmla="*/ 821 w 3368"/>
                <a:gd name="T71" fmla="*/ 1467 h 3318"/>
                <a:gd name="T72" fmla="*/ 751 w 3368"/>
                <a:gd name="T73" fmla="*/ 1502 h 3318"/>
                <a:gd name="T74" fmla="*/ 661 w 3368"/>
                <a:gd name="T75" fmla="*/ 1558 h 3318"/>
                <a:gd name="T76" fmla="*/ 522 w 3368"/>
                <a:gd name="T77" fmla="*/ 1495 h 3318"/>
                <a:gd name="T78" fmla="*/ 487 w 3368"/>
                <a:gd name="T79" fmla="*/ 1578 h 3318"/>
                <a:gd name="T80" fmla="*/ 368 w 3368"/>
                <a:gd name="T81" fmla="*/ 1189 h 3318"/>
                <a:gd name="T82" fmla="*/ 0 w 3368"/>
                <a:gd name="T83" fmla="*/ 625 h 3318"/>
                <a:gd name="T84" fmla="*/ 132 w 3368"/>
                <a:gd name="T85" fmla="*/ 542 h 3318"/>
                <a:gd name="T86" fmla="*/ 215 w 3368"/>
                <a:gd name="T87" fmla="*/ 418 h 3318"/>
                <a:gd name="T88" fmla="*/ 174 w 3368"/>
                <a:gd name="T89" fmla="*/ 230 h 3318"/>
                <a:gd name="T90" fmla="*/ 271 w 3368"/>
                <a:gd name="T91" fmla="*/ 153 h 3318"/>
                <a:gd name="T92" fmla="*/ 445 w 3368"/>
                <a:gd name="T93" fmla="*/ 216 h 3318"/>
                <a:gd name="T94" fmla="*/ 577 w 3368"/>
                <a:gd name="T95" fmla="*/ 251 h 3318"/>
                <a:gd name="T96" fmla="*/ 584 w 3368"/>
                <a:gd name="T97" fmla="*/ 21 h 3318"/>
                <a:gd name="T98" fmla="*/ 786 w 3368"/>
                <a:gd name="T99" fmla="*/ 35 h 3318"/>
                <a:gd name="T100" fmla="*/ 974 w 3368"/>
                <a:gd name="T101" fmla="*/ 133 h 3318"/>
                <a:gd name="T102" fmla="*/ 1141 w 3368"/>
                <a:gd name="T103" fmla="*/ 181 h 3318"/>
                <a:gd name="T104" fmla="*/ 1301 w 3368"/>
                <a:gd name="T105" fmla="*/ 285 h 3318"/>
                <a:gd name="T106" fmla="*/ 1475 w 3368"/>
                <a:gd name="T107" fmla="*/ 251 h 3318"/>
                <a:gd name="T108" fmla="*/ 1648 w 3368"/>
                <a:gd name="T109" fmla="*/ 202 h 3318"/>
                <a:gd name="T110" fmla="*/ 1864 w 3368"/>
                <a:gd name="T111" fmla="*/ 133 h 3318"/>
                <a:gd name="T112" fmla="*/ 2094 w 3368"/>
                <a:gd name="T113" fmla="*/ 98 h 3318"/>
                <a:gd name="T114" fmla="*/ 2184 w 3368"/>
                <a:gd name="T115" fmla="*/ 216 h 3318"/>
                <a:gd name="T116" fmla="*/ 2254 w 3368"/>
                <a:gd name="T117" fmla="*/ 418 h 3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68" h="3318">
                  <a:moveTo>
                    <a:pt x="2288" y="500"/>
                  </a:moveTo>
                  <a:lnTo>
                    <a:pt x="2379" y="486"/>
                  </a:lnTo>
                  <a:lnTo>
                    <a:pt x="2379" y="500"/>
                  </a:lnTo>
                  <a:lnTo>
                    <a:pt x="2393" y="514"/>
                  </a:lnTo>
                  <a:lnTo>
                    <a:pt x="2400" y="528"/>
                  </a:lnTo>
                  <a:lnTo>
                    <a:pt x="2448" y="521"/>
                  </a:lnTo>
                  <a:lnTo>
                    <a:pt x="2497" y="584"/>
                  </a:lnTo>
                  <a:lnTo>
                    <a:pt x="2448" y="598"/>
                  </a:lnTo>
                  <a:lnTo>
                    <a:pt x="2448" y="618"/>
                  </a:lnTo>
                  <a:lnTo>
                    <a:pt x="2476" y="681"/>
                  </a:lnTo>
                  <a:lnTo>
                    <a:pt x="2414" y="716"/>
                  </a:lnTo>
                  <a:lnTo>
                    <a:pt x="2386" y="772"/>
                  </a:lnTo>
                  <a:lnTo>
                    <a:pt x="2400" y="806"/>
                  </a:lnTo>
                  <a:lnTo>
                    <a:pt x="2428" y="813"/>
                  </a:lnTo>
                  <a:lnTo>
                    <a:pt x="2428" y="806"/>
                  </a:lnTo>
                  <a:lnTo>
                    <a:pt x="2476" y="869"/>
                  </a:lnTo>
                  <a:lnTo>
                    <a:pt x="2476" y="883"/>
                  </a:lnTo>
                  <a:lnTo>
                    <a:pt x="2511" y="904"/>
                  </a:lnTo>
                  <a:lnTo>
                    <a:pt x="2525" y="911"/>
                  </a:lnTo>
                  <a:lnTo>
                    <a:pt x="2553" y="883"/>
                  </a:lnTo>
                  <a:lnTo>
                    <a:pt x="2622" y="918"/>
                  </a:lnTo>
                  <a:lnTo>
                    <a:pt x="2650" y="924"/>
                  </a:lnTo>
                  <a:lnTo>
                    <a:pt x="2692" y="883"/>
                  </a:lnTo>
                  <a:lnTo>
                    <a:pt x="2727" y="904"/>
                  </a:lnTo>
                  <a:lnTo>
                    <a:pt x="2789" y="945"/>
                  </a:lnTo>
                  <a:lnTo>
                    <a:pt x="2824" y="945"/>
                  </a:lnTo>
                  <a:lnTo>
                    <a:pt x="2922" y="987"/>
                  </a:lnTo>
                  <a:lnTo>
                    <a:pt x="2935" y="987"/>
                  </a:lnTo>
                  <a:lnTo>
                    <a:pt x="2942" y="1001"/>
                  </a:lnTo>
                  <a:lnTo>
                    <a:pt x="2956" y="1057"/>
                  </a:lnTo>
                  <a:lnTo>
                    <a:pt x="2984" y="1133"/>
                  </a:lnTo>
                  <a:lnTo>
                    <a:pt x="2970" y="1182"/>
                  </a:lnTo>
                  <a:lnTo>
                    <a:pt x="2970" y="1189"/>
                  </a:lnTo>
                  <a:lnTo>
                    <a:pt x="2922" y="1265"/>
                  </a:lnTo>
                  <a:lnTo>
                    <a:pt x="2922" y="1286"/>
                  </a:lnTo>
                  <a:lnTo>
                    <a:pt x="2908" y="1307"/>
                  </a:lnTo>
                  <a:lnTo>
                    <a:pt x="2852" y="1335"/>
                  </a:lnTo>
                  <a:lnTo>
                    <a:pt x="2817" y="1349"/>
                  </a:lnTo>
                  <a:lnTo>
                    <a:pt x="2817" y="1397"/>
                  </a:lnTo>
                  <a:lnTo>
                    <a:pt x="2803" y="1405"/>
                  </a:lnTo>
                  <a:lnTo>
                    <a:pt x="2775" y="1384"/>
                  </a:lnTo>
                  <a:lnTo>
                    <a:pt x="2706" y="1377"/>
                  </a:lnTo>
                  <a:lnTo>
                    <a:pt x="2706" y="1384"/>
                  </a:lnTo>
                  <a:lnTo>
                    <a:pt x="2657" y="1377"/>
                  </a:lnTo>
                  <a:lnTo>
                    <a:pt x="2629" y="1370"/>
                  </a:lnTo>
                  <a:lnTo>
                    <a:pt x="2629" y="1397"/>
                  </a:lnTo>
                  <a:lnTo>
                    <a:pt x="2657" y="1412"/>
                  </a:lnTo>
                  <a:lnTo>
                    <a:pt x="2650" y="1474"/>
                  </a:lnTo>
                  <a:lnTo>
                    <a:pt x="2622" y="1474"/>
                  </a:lnTo>
                  <a:lnTo>
                    <a:pt x="2588" y="1474"/>
                  </a:lnTo>
                  <a:lnTo>
                    <a:pt x="2622" y="1502"/>
                  </a:lnTo>
                  <a:lnTo>
                    <a:pt x="2629" y="1516"/>
                  </a:lnTo>
                  <a:lnTo>
                    <a:pt x="2657" y="1530"/>
                  </a:lnTo>
                  <a:lnTo>
                    <a:pt x="2643" y="1558"/>
                  </a:lnTo>
                  <a:lnTo>
                    <a:pt x="2678" y="1564"/>
                  </a:lnTo>
                  <a:lnTo>
                    <a:pt x="2678" y="1613"/>
                  </a:lnTo>
                  <a:lnTo>
                    <a:pt x="2685" y="1627"/>
                  </a:lnTo>
                  <a:lnTo>
                    <a:pt x="2678" y="1627"/>
                  </a:lnTo>
                  <a:lnTo>
                    <a:pt x="2664" y="1690"/>
                  </a:lnTo>
                  <a:lnTo>
                    <a:pt x="2678" y="1724"/>
                  </a:lnTo>
                  <a:lnTo>
                    <a:pt x="2720" y="1745"/>
                  </a:lnTo>
                  <a:lnTo>
                    <a:pt x="2761" y="1794"/>
                  </a:lnTo>
                  <a:lnTo>
                    <a:pt x="2789" y="1822"/>
                  </a:lnTo>
                  <a:lnTo>
                    <a:pt x="2845" y="1829"/>
                  </a:lnTo>
                  <a:lnTo>
                    <a:pt x="2852" y="1843"/>
                  </a:lnTo>
                  <a:lnTo>
                    <a:pt x="2873" y="1864"/>
                  </a:lnTo>
                  <a:lnTo>
                    <a:pt x="2824" y="1898"/>
                  </a:lnTo>
                  <a:lnTo>
                    <a:pt x="2810" y="1919"/>
                  </a:lnTo>
                  <a:lnTo>
                    <a:pt x="2803" y="1926"/>
                  </a:lnTo>
                  <a:lnTo>
                    <a:pt x="2782" y="1968"/>
                  </a:lnTo>
                  <a:lnTo>
                    <a:pt x="2824" y="2003"/>
                  </a:lnTo>
                  <a:lnTo>
                    <a:pt x="2887" y="2037"/>
                  </a:lnTo>
                  <a:lnTo>
                    <a:pt x="2908" y="2058"/>
                  </a:lnTo>
                  <a:lnTo>
                    <a:pt x="2915" y="2051"/>
                  </a:lnTo>
                  <a:lnTo>
                    <a:pt x="2922" y="2058"/>
                  </a:lnTo>
                  <a:lnTo>
                    <a:pt x="2915" y="2072"/>
                  </a:lnTo>
                  <a:lnTo>
                    <a:pt x="2935" y="2135"/>
                  </a:lnTo>
                  <a:lnTo>
                    <a:pt x="2922" y="2163"/>
                  </a:lnTo>
                  <a:lnTo>
                    <a:pt x="2942" y="2191"/>
                  </a:lnTo>
                  <a:lnTo>
                    <a:pt x="2922" y="2218"/>
                  </a:lnTo>
                  <a:lnTo>
                    <a:pt x="2922" y="2232"/>
                  </a:lnTo>
                  <a:lnTo>
                    <a:pt x="2991" y="2281"/>
                  </a:lnTo>
                  <a:lnTo>
                    <a:pt x="3005" y="2330"/>
                  </a:lnTo>
                  <a:lnTo>
                    <a:pt x="3109" y="2399"/>
                  </a:lnTo>
                  <a:lnTo>
                    <a:pt x="3130" y="2448"/>
                  </a:lnTo>
                  <a:lnTo>
                    <a:pt x="3151" y="2434"/>
                  </a:lnTo>
                  <a:lnTo>
                    <a:pt x="3165" y="2448"/>
                  </a:lnTo>
                  <a:lnTo>
                    <a:pt x="3207" y="2490"/>
                  </a:lnTo>
                  <a:lnTo>
                    <a:pt x="3200" y="2559"/>
                  </a:lnTo>
                  <a:lnTo>
                    <a:pt x="3221" y="2587"/>
                  </a:lnTo>
                  <a:lnTo>
                    <a:pt x="3221" y="2594"/>
                  </a:lnTo>
                  <a:lnTo>
                    <a:pt x="3235" y="2594"/>
                  </a:lnTo>
                  <a:lnTo>
                    <a:pt x="3235" y="2615"/>
                  </a:lnTo>
                  <a:lnTo>
                    <a:pt x="3249" y="2629"/>
                  </a:lnTo>
                  <a:lnTo>
                    <a:pt x="3304" y="2657"/>
                  </a:lnTo>
                  <a:lnTo>
                    <a:pt x="3332" y="2664"/>
                  </a:lnTo>
                  <a:lnTo>
                    <a:pt x="3367" y="2691"/>
                  </a:lnTo>
                  <a:lnTo>
                    <a:pt x="3367" y="2698"/>
                  </a:lnTo>
                  <a:lnTo>
                    <a:pt x="3360" y="2719"/>
                  </a:lnTo>
                  <a:lnTo>
                    <a:pt x="3367" y="2754"/>
                  </a:lnTo>
                  <a:lnTo>
                    <a:pt x="3339" y="2775"/>
                  </a:lnTo>
                  <a:lnTo>
                    <a:pt x="3346" y="2810"/>
                  </a:lnTo>
                  <a:lnTo>
                    <a:pt x="3339" y="2824"/>
                  </a:lnTo>
                  <a:lnTo>
                    <a:pt x="3304" y="2844"/>
                  </a:lnTo>
                  <a:lnTo>
                    <a:pt x="3241" y="2872"/>
                  </a:lnTo>
                  <a:lnTo>
                    <a:pt x="3241" y="2886"/>
                  </a:lnTo>
                  <a:lnTo>
                    <a:pt x="3214" y="2914"/>
                  </a:lnTo>
                  <a:lnTo>
                    <a:pt x="3214" y="2942"/>
                  </a:lnTo>
                  <a:lnTo>
                    <a:pt x="3200" y="2970"/>
                  </a:lnTo>
                  <a:lnTo>
                    <a:pt x="3200" y="3025"/>
                  </a:lnTo>
                  <a:lnTo>
                    <a:pt x="3200" y="3046"/>
                  </a:lnTo>
                  <a:lnTo>
                    <a:pt x="3165" y="3109"/>
                  </a:lnTo>
                  <a:lnTo>
                    <a:pt x="3109" y="3137"/>
                  </a:lnTo>
                  <a:lnTo>
                    <a:pt x="3151" y="3171"/>
                  </a:lnTo>
                  <a:lnTo>
                    <a:pt x="3151" y="3185"/>
                  </a:lnTo>
                  <a:lnTo>
                    <a:pt x="3102" y="3213"/>
                  </a:lnTo>
                  <a:lnTo>
                    <a:pt x="3074" y="3185"/>
                  </a:lnTo>
                  <a:lnTo>
                    <a:pt x="3074" y="3150"/>
                  </a:lnTo>
                  <a:lnTo>
                    <a:pt x="3054" y="3158"/>
                  </a:lnTo>
                  <a:lnTo>
                    <a:pt x="2984" y="3137"/>
                  </a:lnTo>
                  <a:lnTo>
                    <a:pt x="2915" y="3144"/>
                  </a:lnTo>
                  <a:lnTo>
                    <a:pt x="2859" y="3178"/>
                  </a:lnTo>
                  <a:lnTo>
                    <a:pt x="2845" y="3206"/>
                  </a:lnTo>
                  <a:lnTo>
                    <a:pt x="2824" y="3220"/>
                  </a:lnTo>
                  <a:lnTo>
                    <a:pt x="2775" y="3269"/>
                  </a:lnTo>
                  <a:lnTo>
                    <a:pt x="2741" y="3311"/>
                  </a:lnTo>
                  <a:lnTo>
                    <a:pt x="2720" y="3317"/>
                  </a:lnTo>
                  <a:lnTo>
                    <a:pt x="2678" y="3311"/>
                  </a:lnTo>
                  <a:lnTo>
                    <a:pt x="2629" y="3311"/>
                  </a:lnTo>
                  <a:lnTo>
                    <a:pt x="2553" y="3241"/>
                  </a:lnTo>
                  <a:lnTo>
                    <a:pt x="2483" y="3255"/>
                  </a:lnTo>
                  <a:lnTo>
                    <a:pt x="2490" y="3241"/>
                  </a:lnTo>
                  <a:lnTo>
                    <a:pt x="2511" y="3234"/>
                  </a:lnTo>
                  <a:lnTo>
                    <a:pt x="2490" y="3158"/>
                  </a:lnTo>
                  <a:lnTo>
                    <a:pt x="2455" y="3116"/>
                  </a:lnTo>
                  <a:lnTo>
                    <a:pt x="2393" y="3053"/>
                  </a:lnTo>
                  <a:lnTo>
                    <a:pt x="2358" y="3025"/>
                  </a:lnTo>
                  <a:lnTo>
                    <a:pt x="2351" y="3025"/>
                  </a:lnTo>
                  <a:lnTo>
                    <a:pt x="2282" y="2956"/>
                  </a:lnTo>
                  <a:lnTo>
                    <a:pt x="2254" y="2921"/>
                  </a:lnTo>
                  <a:lnTo>
                    <a:pt x="2191" y="2921"/>
                  </a:lnTo>
                  <a:lnTo>
                    <a:pt x="2156" y="2942"/>
                  </a:lnTo>
                  <a:lnTo>
                    <a:pt x="2094" y="2921"/>
                  </a:lnTo>
                  <a:lnTo>
                    <a:pt x="2066" y="2886"/>
                  </a:lnTo>
                  <a:lnTo>
                    <a:pt x="2052" y="2852"/>
                  </a:lnTo>
                  <a:lnTo>
                    <a:pt x="2017" y="2824"/>
                  </a:lnTo>
                  <a:lnTo>
                    <a:pt x="1961" y="2796"/>
                  </a:lnTo>
                  <a:lnTo>
                    <a:pt x="1934" y="2796"/>
                  </a:lnTo>
                  <a:lnTo>
                    <a:pt x="1878" y="2754"/>
                  </a:lnTo>
                  <a:lnTo>
                    <a:pt x="1941" y="2698"/>
                  </a:lnTo>
                  <a:lnTo>
                    <a:pt x="1941" y="2615"/>
                  </a:lnTo>
                  <a:lnTo>
                    <a:pt x="1961" y="2559"/>
                  </a:lnTo>
                  <a:lnTo>
                    <a:pt x="2024" y="2525"/>
                  </a:lnTo>
                  <a:lnTo>
                    <a:pt x="2038" y="2469"/>
                  </a:lnTo>
                  <a:lnTo>
                    <a:pt x="2031" y="2434"/>
                  </a:lnTo>
                  <a:lnTo>
                    <a:pt x="1934" y="2239"/>
                  </a:lnTo>
                  <a:lnTo>
                    <a:pt x="1892" y="2107"/>
                  </a:lnTo>
                  <a:lnTo>
                    <a:pt x="1843" y="2037"/>
                  </a:lnTo>
                  <a:lnTo>
                    <a:pt x="1774" y="1933"/>
                  </a:lnTo>
                  <a:lnTo>
                    <a:pt x="1739" y="1898"/>
                  </a:lnTo>
                  <a:lnTo>
                    <a:pt x="1642" y="1822"/>
                  </a:lnTo>
                  <a:lnTo>
                    <a:pt x="1600" y="1836"/>
                  </a:lnTo>
                  <a:lnTo>
                    <a:pt x="1565" y="1864"/>
                  </a:lnTo>
                  <a:lnTo>
                    <a:pt x="1544" y="1891"/>
                  </a:lnTo>
                  <a:lnTo>
                    <a:pt x="1530" y="1919"/>
                  </a:lnTo>
                  <a:lnTo>
                    <a:pt x="1440" y="1878"/>
                  </a:lnTo>
                  <a:lnTo>
                    <a:pt x="1419" y="1878"/>
                  </a:lnTo>
                  <a:lnTo>
                    <a:pt x="1405" y="1905"/>
                  </a:lnTo>
                  <a:lnTo>
                    <a:pt x="1398" y="1919"/>
                  </a:lnTo>
                  <a:lnTo>
                    <a:pt x="1342" y="1954"/>
                  </a:lnTo>
                  <a:lnTo>
                    <a:pt x="1308" y="1961"/>
                  </a:lnTo>
                  <a:lnTo>
                    <a:pt x="1280" y="1961"/>
                  </a:lnTo>
                  <a:lnTo>
                    <a:pt x="1273" y="1968"/>
                  </a:lnTo>
                  <a:lnTo>
                    <a:pt x="1238" y="1954"/>
                  </a:lnTo>
                  <a:lnTo>
                    <a:pt x="1210" y="1933"/>
                  </a:lnTo>
                  <a:lnTo>
                    <a:pt x="1168" y="1940"/>
                  </a:lnTo>
                  <a:lnTo>
                    <a:pt x="1134" y="1954"/>
                  </a:lnTo>
                  <a:lnTo>
                    <a:pt x="1085" y="1968"/>
                  </a:lnTo>
                  <a:lnTo>
                    <a:pt x="1057" y="1996"/>
                  </a:lnTo>
                  <a:lnTo>
                    <a:pt x="1043" y="2003"/>
                  </a:lnTo>
                  <a:lnTo>
                    <a:pt x="960" y="2037"/>
                  </a:lnTo>
                  <a:lnTo>
                    <a:pt x="946" y="2051"/>
                  </a:lnTo>
                  <a:lnTo>
                    <a:pt x="939" y="2058"/>
                  </a:lnTo>
                  <a:lnTo>
                    <a:pt x="925" y="2024"/>
                  </a:lnTo>
                  <a:lnTo>
                    <a:pt x="953" y="1940"/>
                  </a:lnTo>
                  <a:lnTo>
                    <a:pt x="960" y="1933"/>
                  </a:lnTo>
                  <a:lnTo>
                    <a:pt x="974" y="1919"/>
                  </a:lnTo>
                  <a:lnTo>
                    <a:pt x="1015" y="1926"/>
                  </a:lnTo>
                  <a:lnTo>
                    <a:pt x="1036" y="1919"/>
                  </a:lnTo>
                  <a:lnTo>
                    <a:pt x="1050" y="1905"/>
                  </a:lnTo>
                  <a:lnTo>
                    <a:pt x="1057" y="1898"/>
                  </a:lnTo>
                  <a:lnTo>
                    <a:pt x="1057" y="1878"/>
                  </a:lnTo>
                  <a:lnTo>
                    <a:pt x="1057" y="1871"/>
                  </a:lnTo>
                  <a:lnTo>
                    <a:pt x="1078" y="1857"/>
                  </a:lnTo>
                  <a:lnTo>
                    <a:pt x="1120" y="1808"/>
                  </a:lnTo>
                  <a:lnTo>
                    <a:pt x="1175" y="1780"/>
                  </a:lnTo>
                  <a:lnTo>
                    <a:pt x="1168" y="1704"/>
                  </a:lnTo>
                  <a:lnTo>
                    <a:pt x="1134" y="1662"/>
                  </a:lnTo>
                  <a:lnTo>
                    <a:pt x="1120" y="1662"/>
                  </a:lnTo>
                  <a:lnTo>
                    <a:pt x="1092" y="1662"/>
                  </a:lnTo>
                  <a:lnTo>
                    <a:pt x="1071" y="1648"/>
                  </a:lnTo>
                  <a:lnTo>
                    <a:pt x="981" y="1572"/>
                  </a:lnTo>
                  <a:lnTo>
                    <a:pt x="953" y="1544"/>
                  </a:lnTo>
                  <a:lnTo>
                    <a:pt x="925" y="1502"/>
                  </a:lnTo>
                  <a:lnTo>
                    <a:pt x="918" y="1509"/>
                  </a:lnTo>
                  <a:lnTo>
                    <a:pt x="876" y="1474"/>
                  </a:lnTo>
                  <a:lnTo>
                    <a:pt x="862" y="1474"/>
                  </a:lnTo>
                  <a:lnTo>
                    <a:pt x="862" y="1467"/>
                  </a:lnTo>
                  <a:lnTo>
                    <a:pt x="855" y="1467"/>
                  </a:lnTo>
                  <a:lnTo>
                    <a:pt x="848" y="1467"/>
                  </a:lnTo>
                  <a:lnTo>
                    <a:pt x="848" y="1460"/>
                  </a:lnTo>
                  <a:lnTo>
                    <a:pt x="841" y="1467"/>
                  </a:lnTo>
                  <a:lnTo>
                    <a:pt x="841" y="1460"/>
                  </a:lnTo>
                  <a:lnTo>
                    <a:pt x="841" y="1467"/>
                  </a:lnTo>
                  <a:lnTo>
                    <a:pt x="828" y="1460"/>
                  </a:lnTo>
                  <a:lnTo>
                    <a:pt x="821" y="1467"/>
                  </a:lnTo>
                  <a:lnTo>
                    <a:pt x="814" y="1474"/>
                  </a:lnTo>
                  <a:lnTo>
                    <a:pt x="807" y="1481"/>
                  </a:lnTo>
                  <a:lnTo>
                    <a:pt x="807" y="1495"/>
                  </a:lnTo>
                  <a:lnTo>
                    <a:pt x="807" y="1481"/>
                  </a:lnTo>
                  <a:lnTo>
                    <a:pt x="779" y="1481"/>
                  </a:lnTo>
                  <a:lnTo>
                    <a:pt x="751" y="1502"/>
                  </a:lnTo>
                  <a:lnTo>
                    <a:pt x="730" y="1516"/>
                  </a:lnTo>
                  <a:lnTo>
                    <a:pt x="730" y="1544"/>
                  </a:lnTo>
                  <a:lnTo>
                    <a:pt x="695" y="1564"/>
                  </a:lnTo>
                  <a:lnTo>
                    <a:pt x="689" y="1558"/>
                  </a:lnTo>
                  <a:lnTo>
                    <a:pt x="681" y="1558"/>
                  </a:lnTo>
                  <a:lnTo>
                    <a:pt x="661" y="1558"/>
                  </a:lnTo>
                  <a:lnTo>
                    <a:pt x="674" y="1544"/>
                  </a:lnTo>
                  <a:lnTo>
                    <a:pt x="661" y="1516"/>
                  </a:lnTo>
                  <a:lnTo>
                    <a:pt x="654" y="1509"/>
                  </a:lnTo>
                  <a:lnTo>
                    <a:pt x="584" y="1502"/>
                  </a:lnTo>
                  <a:lnTo>
                    <a:pt x="584" y="1495"/>
                  </a:lnTo>
                  <a:lnTo>
                    <a:pt x="522" y="1495"/>
                  </a:lnTo>
                  <a:lnTo>
                    <a:pt x="522" y="1516"/>
                  </a:lnTo>
                  <a:lnTo>
                    <a:pt x="528" y="1572"/>
                  </a:lnTo>
                  <a:lnTo>
                    <a:pt x="522" y="1578"/>
                  </a:lnTo>
                  <a:lnTo>
                    <a:pt x="542" y="1599"/>
                  </a:lnTo>
                  <a:lnTo>
                    <a:pt x="494" y="1572"/>
                  </a:lnTo>
                  <a:lnTo>
                    <a:pt x="487" y="1578"/>
                  </a:lnTo>
                  <a:lnTo>
                    <a:pt x="459" y="1558"/>
                  </a:lnTo>
                  <a:lnTo>
                    <a:pt x="466" y="1530"/>
                  </a:lnTo>
                  <a:lnTo>
                    <a:pt x="466" y="1460"/>
                  </a:lnTo>
                  <a:lnTo>
                    <a:pt x="459" y="1377"/>
                  </a:lnTo>
                  <a:lnTo>
                    <a:pt x="445" y="1335"/>
                  </a:lnTo>
                  <a:lnTo>
                    <a:pt x="368" y="1189"/>
                  </a:lnTo>
                  <a:lnTo>
                    <a:pt x="271" y="1078"/>
                  </a:lnTo>
                  <a:lnTo>
                    <a:pt x="229" y="952"/>
                  </a:lnTo>
                  <a:lnTo>
                    <a:pt x="153" y="813"/>
                  </a:lnTo>
                  <a:lnTo>
                    <a:pt x="132" y="772"/>
                  </a:lnTo>
                  <a:lnTo>
                    <a:pt x="90" y="716"/>
                  </a:lnTo>
                  <a:lnTo>
                    <a:pt x="0" y="625"/>
                  </a:lnTo>
                  <a:lnTo>
                    <a:pt x="21" y="584"/>
                  </a:lnTo>
                  <a:lnTo>
                    <a:pt x="69" y="577"/>
                  </a:lnTo>
                  <a:lnTo>
                    <a:pt x="97" y="577"/>
                  </a:lnTo>
                  <a:lnTo>
                    <a:pt x="118" y="556"/>
                  </a:lnTo>
                  <a:lnTo>
                    <a:pt x="118" y="542"/>
                  </a:lnTo>
                  <a:lnTo>
                    <a:pt x="132" y="542"/>
                  </a:lnTo>
                  <a:lnTo>
                    <a:pt x="104" y="521"/>
                  </a:lnTo>
                  <a:lnTo>
                    <a:pt x="104" y="493"/>
                  </a:lnTo>
                  <a:lnTo>
                    <a:pt x="153" y="479"/>
                  </a:lnTo>
                  <a:lnTo>
                    <a:pt x="167" y="479"/>
                  </a:lnTo>
                  <a:lnTo>
                    <a:pt x="215" y="460"/>
                  </a:lnTo>
                  <a:lnTo>
                    <a:pt x="215" y="418"/>
                  </a:lnTo>
                  <a:lnTo>
                    <a:pt x="188" y="369"/>
                  </a:lnTo>
                  <a:lnTo>
                    <a:pt x="188" y="327"/>
                  </a:lnTo>
                  <a:lnTo>
                    <a:pt x="188" y="293"/>
                  </a:lnTo>
                  <a:lnTo>
                    <a:pt x="201" y="265"/>
                  </a:lnTo>
                  <a:lnTo>
                    <a:pt x="188" y="251"/>
                  </a:lnTo>
                  <a:lnTo>
                    <a:pt x="174" y="230"/>
                  </a:lnTo>
                  <a:lnTo>
                    <a:pt x="167" y="216"/>
                  </a:lnTo>
                  <a:lnTo>
                    <a:pt x="167" y="202"/>
                  </a:lnTo>
                  <a:lnTo>
                    <a:pt x="215" y="181"/>
                  </a:lnTo>
                  <a:lnTo>
                    <a:pt x="229" y="181"/>
                  </a:lnTo>
                  <a:lnTo>
                    <a:pt x="236" y="181"/>
                  </a:lnTo>
                  <a:lnTo>
                    <a:pt x="271" y="153"/>
                  </a:lnTo>
                  <a:lnTo>
                    <a:pt x="334" y="98"/>
                  </a:lnTo>
                  <a:lnTo>
                    <a:pt x="355" y="98"/>
                  </a:lnTo>
                  <a:lnTo>
                    <a:pt x="403" y="133"/>
                  </a:lnTo>
                  <a:lnTo>
                    <a:pt x="403" y="153"/>
                  </a:lnTo>
                  <a:lnTo>
                    <a:pt x="389" y="167"/>
                  </a:lnTo>
                  <a:lnTo>
                    <a:pt x="445" y="216"/>
                  </a:lnTo>
                  <a:lnTo>
                    <a:pt x="452" y="230"/>
                  </a:lnTo>
                  <a:lnTo>
                    <a:pt x="459" y="258"/>
                  </a:lnTo>
                  <a:lnTo>
                    <a:pt x="542" y="237"/>
                  </a:lnTo>
                  <a:lnTo>
                    <a:pt x="577" y="265"/>
                  </a:lnTo>
                  <a:lnTo>
                    <a:pt x="584" y="265"/>
                  </a:lnTo>
                  <a:lnTo>
                    <a:pt x="577" y="251"/>
                  </a:lnTo>
                  <a:lnTo>
                    <a:pt x="563" y="195"/>
                  </a:lnTo>
                  <a:lnTo>
                    <a:pt x="522" y="133"/>
                  </a:lnTo>
                  <a:lnTo>
                    <a:pt x="542" y="105"/>
                  </a:lnTo>
                  <a:lnTo>
                    <a:pt x="528" y="105"/>
                  </a:lnTo>
                  <a:lnTo>
                    <a:pt x="563" y="56"/>
                  </a:lnTo>
                  <a:lnTo>
                    <a:pt x="584" y="21"/>
                  </a:lnTo>
                  <a:lnTo>
                    <a:pt x="598" y="0"/>
                  </a:lnTo>
                  <a:lnTo>
                    <a:pt x="661" y="63"/>
                  </a:lnTo>
                  <a:lnTo>
                    <a:pt x="681" y="21"/>
                  </a:lnTo>
                  <a:lnTo>
                    <a:pt x="716" y="21"/>
                  </a:lnTo>
                  <a:lnTo>
                    <a:pt x="751" y="28"/>
                  </a:lnTo>
                  <a:lnTo>
                    <a:pt x="786" y="35"/>
                  </a:lnTo>
                  <a:lnTo>
                    <a:pt x="814" y="56"/>
                  </a:lnTo>
                  <a:lnTo>
                    <a:pt x="848" y="56"/>
                  </a:lnTo>
                  <a:lnTo>
                    <a:pt x="862" y="63"/>
                  </a:lnTo>
                  <a:lnTo>
                    <a:pt x="855" y="84"/>
                  </a:lnTo>
                  <a:lnTo>
                    <a:pt x="946" y="126"/>
                  </a:lnTo>
                  <a:lnTo>
                    <a:pt x="974" y="133"/>
                  </a:lnTo>
                  <a:lnTo>
                    <a:pt x="1015" y="139"/>
                  </a:lnTo>
                  <a:lnTo>
                    <a:pt x="1050" y="160"/>
                  </a:lnTo>
                  <a:lnTo>
                    <a:pt x="1071" y="153"/>
                  </a:lnTo>
                  <a:lnTo>
                    <a:pt x="1078" y="160"/>
                  </a:lnTo>
                  <a:lnTo>
                    <a:pt x="1092" y="167"/>
                  </a:lnTo>
                  <a:lnTo>
                    <a:pt x="1141" y="181"/>
                  </a:lnTo>
                  <a:lnTo>
                    <a:pt x="1175" y="195"/>
                  </a:lnTo>
                  <a:lnTo>
                    <a:pt x="1175" y="223"/>
                  </a:lnTo>
                  <a:lnTo>
                    <a:pt x="1182" y="230"/>
                  </a:lnTo>
                  <a:lnTo>
                    <a:pt x="1217" y="272"/>
                  </a:lnTo>
                  <a:lnTo>
                    <a:pt x="1266" y="272"/>
                  </a:lnTo>
                  <a:lnTo>
                    <a:pt x="1301" y="285"/>
                  </a:lnTo>
                  <a:lnTo>
                    <a:pt x="1329" y="258"/>
                  </a:lnTo>
                  <a:lnTo>
                    <a:pt x="1363" y="293"/>
                  </a:lnTo>
                  <a:lnTo>
                    <a:pt x="1363" y="299"/>
                  </a:lnTo>
                  <a:lnTo>
                    <a:pt x="1384" y="320"/>
                  </a:lnTo>
                  <a:lnTo>
                    <a:pt x="1405" y="313"/>
                  </a:lnTo>
                  <a:lnTo>
                    <a:pt x="1475" y="251"/>
                  </a:lnTo>
                  <a:lnTo>
                    <a:pt x="1481" y="258"/>
                  </a:lnTo>
                  <a:lnTo>
                    <a:pt x="1495" y="223"/>
                  </a:lnTo>
                  <a:lnTo>
                    <a:pt x="1544" y="216"/>
                  </a:lnTo>
                  <a:lnTo>
                    <a:pt x="1565" y="237"/>
                  </a:lnTo>
                  <a:lnTo>
                    <a:pt x="1642" y="202"/>
                  </a:lnTo>
                  <a:lnTo>
                    <a:pt x="1648" y="202"/>
                  </a:lnTo>
                  <a:lnTo>
                    <a:pt x="1669" y="139"/>
                  </a:lnTo>
                  <a:lnTo>
                    <a:pt x="1697" y="126"/>
                  </a:lnTo>
                  <a:lnTo>
                    <a:pt x="1802" y="188"/>
                  </a:lnTo>
                  <a:lnTo>
                    <a:pt x="1808" y="181"/>
                  </a:lnTo>
                  <a:lnTo>
                    <a:pt x="1829" y="167"/>
                  </a:lnTo>
                  <a:lnTo>
                    <a:pt x="1864" y="133"/>
                  </a:lnTo>
                  <a:lnTo>
                    <a:pt x="1961" y="105"/>
                  </a:lnTo>
                  <a:lnTo>
                    <a:pt x="2003" y="91"/>
                  </a:lnTo>
                  <a:lnTo>
                    <a:pt x="2017" y="63"/>
                  </a:lnTo>
                  <a:lnTo>
                    <a:pt x="2052" y="42"/>
                  </a:lnTo>
                  <a:lnTo>
                    <a:pt x="2066" y="63"/>
                  </a:lnTo>
                  <a:lnTo>
                    <a:pt x="2094" y="98"/>
                  </a:lnTo>
                  <a:lnTo>
                    <a:pt x="2094" y="126"/>
                  </a:lnTo>
                  <a:lnTo>
                    <a:pt x="2108" y="118"/>
                  </a:lnTo>
                  <a:lnTo>
                    <a:pt x="2121" y="139"/>
                  </a:lnTo>
                  <a:lnTo>
                    <a:pt x="2198" y="167"/>
                  </a:lnTo>
                  <a:lnTo>
                    <a:pt x="2198" y="195"/>
                  </a:lnTo>
                  <a:lnTo>
                    <a:pt x="2184" y="216"/>
                  </a:lnTo>
                  <a:lnTo>
                    <a:pt x="2198" y="258"/>
                  </a:lnTo>
                  <a:lnTo>
                    <a:pt x="2163" y="265"/>
                  </a:lnTo>
                  <a:lnTo>
                    <a:pt x="2135" y="299"/>
                  </a:lnTo>
                  <a:lnTo>
                    <a:pt x="2149" y="348"/>
                  </a:lnTo>
                  <a:lnTo>
                    <a:pt x="2156" y="390"/>
                  </a:lnTo>
                  <a:lnTo>
                    <a:pt x="2254" y="418"/>
                  </a:lnTo>
                  <a:lnTo>
                    <a:pt x="2247" y="446"/>
                  </a:lnTo>
                  <a:lnTo>
                    <a:pt x="2267" y="479"/>
                  </a:lnTo>
                  <a:lnTo>
                    <a:pt x="2261" y="486"/>
                  </a:lnTo>
                  <a:lnTo>
                    <a:pt x="2288" y="50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0" name="Freeform 59"/>
            <p:cNvSpPr>
              <a:spLocks noChangeArrowheads="1"/>
            </p:cNvSpPr>
            <p:nvPr/>
          </p:nvSpPr>
          <p:spPr bwMode="auto">
            <a:xfrm>
              <a:off x="18645318" y="9043851"/>
              <a:ext cx="84916" cy="66280"/>
            </a:xfrm>
            <a:custGeom>
              <a:avLst/>
              <a:gdLst>
                <a:gd name="T0" fmla="*/ 76 w 182"/>
                <a:gd name="T1" fmla="*/ 125 h 140"/>
                <a:gd name="T2" fmla="*/ 118 w 182"/>
                <a:gd name="T3" fmla="*/ 132 h 140"/>
                <a:gd name="T4" fmla="*/ 153 w 182"/>
                <a:gd name="T5" fmla="*/ 118 h 140"/>
                <a:gd name="T6" fmla="*/ 167 w 182"/>
                <a:gd name="T7" fmla="*/ 125 h 140"/>
                <a:gd name="T8" fmla="*/ 167 w 182"/>
                <a:gd name="T9" fmla="*/ 118 h 140"/>
                <a:gd name="T10" fmla="*/ 181 w 182"/>
                <a:gd name="T11" fmla="*/ 90 h 140"/>
                <a:gd name="T12" fmla="*/ 181 w 182"/>
                <a:gd name="T13" fmla="*/ 63 h 140"/>
                <a:gd name="T14" fmla="*/ 139 w 182"/>
                <a:gd name="T15" fmla="*/ 28 h 140"/>
                <a:gd name="T16" fmla="*/ 132 w 182"/>
                <a:gd name="T17" fmla="*/ 28 h 140"/>
                <a:gd name="T18" fmla="*/ 69 w 182"/>
                <a:gd name="T19" fmla="*/ 7 h 140"/>
                <a:gd name="T20" fmla="*/ 48 w 182"/>
                <a:gd name="T21" fmla="*/ 0 h 140"/>
                <a:gd name="T22" fmla="*/ 42 w 182"/>
                <a:gd name="T23" fmla="*/ 0 h 140"/>
                <a:gd name="T24" fmla="*/ 14 w 182"/>
                <a:gd name="T25" fmla="*/ 0 h 140"/>
                <a:gd name="T26" fmla="*/ 7 w 182"/>
                <a:gd name="T27" fmla="*/ 49 h 140"/>
                <a:gd name="T28" fmla="*/ 0 w 182"/>
                <a:gd name="T29" fmla="*/ 98 h 140"/>
                <a:gd name="T30" fmla="*/ 14 w 182"/>
                <a:gd name="T31" fmla="*/ 125 h 140"/>
                <a:gd name="T32" fmla="*/ 42 w 182"/>
                <a:gd name="T33" fmla="*/ 132 h 140"/>
                <a:gd name="T34" fmla="*/ 62 w 182"/>
                <a:gd name="T35" fmla="*/ 139 h 140"/>
                <a:gd name="T36" fmla="*/ 76 w 182"/>
                <a:gd name="T37" fmla="*/ 12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2" h="140">
                  <a:moveTo>
                    <a:pt x="76" y="125"/>
                  </a:moveTo>
                  <a:lnTo>
                    <a:pt x="118" y="132"/>
                  </a:lnTo>
                  <a:lnTo>
                    <a:pt x="153" y="118"/>
                  </a:lnTo>
                  <a:lnTo>
                    <a:pt x="167" y="125"/>
                  </a:lnTo>
                  <a:lnTo>
                    <a:pt x="167" y="118"/>
                  </a:lnTo>
                  <a:lnTo>
                    <a:pt x="181" y="90"/>
                  </a:lnTo>
                  <a:lnTo>
                    <a:pt x="181" y="63"/>
                  </a:lnTo>
                  <a:lnTo>
                    <a:pt x="139" y="28"/>
                  </a:lnTo>
                  <a:lnTo>
                    <a:pt x="132" y="28"/>
                  </a:lnTo>
                  <a:lnTo>
                    <a:pt x="69" y="7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14" y="0"/>
                  </a:lnTo>
                  <a:lnTo>
                    <a:pt x="7" y="49"/>
                  </a:lnTo>
                  <a:lnTo>
                    <a:pt x="0" y="98"/>
                  </a:lnTo>
                  <a:lnTo>
                    <a:pt x="14" y="125"/>
                  </a:lnTo>
                  <a:lnTo>
                    <a:pt x="42" y="132"/>
                  </a:lnTo>
                  <a:lnTo>
                    <a:pt x="62" y="139"/>
                  </a:lnTo>
                  <a:lnTo>
                    <a:pt x="76" y="12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1" name="Freeform 60"/>
            <p:cNvSpPr>
              <a:spLocks noChangeArrowheads="1"/>
            </p:cNvSpPr>
            <p:nvPr/>
          </p:nvSpPr>
          <p:spPr bwMode="auto">
            <a:xfrm>
              <a:off x="18908351" y="9246833"/>
              <a:ext cx="53848" cy="26927"/>
            </a:xfrm>
            <a:custGeom>
              <a:avLst/>
              <a:gdLst>
                <a:gd name="T0" fmla="*/ 35 w 113"/>
                <a:gd name="T1" fmla="*/ 0 h 57"/>
                <a:gd name="T2" fmla="*/ 0 w 113"/>
                <a:gd name="T3" fmla="*/ 14 h 57"/>
                <a:gd name="T4" fmla="*/ 7 w 113"/>
                <a:gd name="T5" fmla="*/ 56 h 57"/>
                <a:gd name="T6" fmla="*/ 56 w 113"/>
                <a:gd name="T7" fmla="*/ 49 h 57"/>
                <a:gd name="T8" fmla="*/ 98 w 113"/>
                <a:gd name="T9" fmla="*/ 49 h 57"/>
                <a:gd name="T10" fmla="*/ 112 w 113"/>
                <a:gd name="T11" fmla="*/ 0 h 57"/>
                <a:gd name="T12" fmla="*/ 56 w 113"/>
                <a:gd name="T13" fmla="*/ 14 h 57"/>
                <a:gd name="T14" fmla="*/ 35 w 113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" h="57">
                  <a:moveTo>
                    <a:pt x="35" y="0"/>
                  </a:moveTo>
                  <a:lnTo>
                    <a:pt x="0" y="14"/>
                  </a:lnTo>
                  <a:lnTo>
                    <a:pt x="7" y="56"/>
                  </a:lnTo>
                  <a:lnTo>
                    <a:pt x="56" y="49"/>
                  </a:lnTo>
                  <a:lnTo>
                    <a:pt x="98" y="49"/>
                  </a:lnTo>
                  <a:lnTo>
                    <a:pt x="112" y="0"/>
                  </a:lnTo>
                  <a:lnTo>
                    <a:pt x="56" y="14"/>
                  </a:lnTo>
                  <a:lnTo>
                    <a:pt x="35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2" name="Freeform 61"/>
            <p:cNvSpPr>
              <a:spLocks noChangeArrowheads="1"/>
            </p:cNvSpPr>
            <p:nvPr/>
          </p:nvSpPr>
          <p:spPr bwMode="auto">
            <a:xfrm>
              <a:off x="18753016" y="9037638"/>
              <a:ext cx="33137" cy="22783"/>
            </a:xfrm>
            <a:custGeom>
              <a:avLst/>
              <a:gdLst>
                <a:gd name="T0" fmla="*/ 35 w 71"/>
                <a:gd name="T1" fmla="*/ 42 h 50"/>
                <a:gd name="T2" fmla="*/ 35 w 71"/>
                <a:gd name="T3" fmla="*/ 49 h 50"/>
                <a:gd name="T4" fmla="*/ 21 w 71"/>
                <a:gd name="T5" fmla="*/ 49 h 50"/>
                <a:gd name="T6" fmla="*/ 7 w 71"/>
                <a:gd name="T7" fmla="*/ 42 h 50"/>
                <a:gd name="T8" fmla="*/ 0 w 71"/>
                <a:gd name="T9" fmla="*/ 49 h 50"/>
                <a:gd name="T10" fmla="*/ 7 w 71"/>
                <a:gd name="T11" fmla="*/ 35 h 50"/>
                <a:gd name="T12" fmla="*/ 21 w 71"/>
                <a:gd name="T13" fmla="*/ 0 h 50"/>
                <a:gd name="T14" fmla="*/ 70 w 71"/>
                <a:gd name="T15" fmla="*/ 0 h 50"/>
                <a:gd name="T16" fmla="*/ 70 w 71"/>
                <a:gd name="T17" fmla="*/ 14 h 50"/>
                <a:gd name="T18" fmla="*/ 42 w 71"/>
                <a:gd name="T19" fmla="*/ 21 h 50"/>
                <a:gd name="T20" fmla="*/ 35 w 71"/>
                <a:gd name="T21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50">
                  <a:moveTo>
                    <a:pt x="35" y="42"/>
                  </a:moveTo>
                  <a:lnTo>
                    <a:pt x="35" y="49"/>
                  </a:lnTo>
                  <a:lnTo>
                    <a:pt x="21" y="49"/>
                  </a:lnTo>
                  <a:lnTo>
                    <a:pt x="7" y="42"/>
                  </a:lnTo>
                  <a:lnTo>
                    <a:pt x="0" y="49"/>
                  </a:lnTo>
                  <a:lnTo>
                    <a:pt x="7" y="35"/>
                  </a:lnTo>
                  <a:lnTo>
                    <a:pt x="21" y="0"/>
                  </a:lnTo>
                  <a:lnTo>
                    <a:pt x="70" y="0"/>
                  </a:lnTo>
                  <a:lnTo>
                    <a:pt x="70" y="14"/>
                  </a:lnTo>
                  <a:lnTo>
                    <a:pt x="42" y="21"/>
                  </a:lnTo>
                  <a:lnTo>
                    <a:pt x="35" y="4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3" name="Freeform 62"/>
            <p:cNvSpPr>
              <a:spLocks noChangeArrowheads="1"/>
            </p:cNvSpPr>
            <p:nvPr/>
          </p:nvSpPr>
          <p:spPr bwMode="auto">
            <a:xfrm>
              <a:off x="18709523" y="7691330"/>
              <a:ext cx="944426" cy="733220"/>
            </a:xfrm>
            <a:custGeom>
              <a:avLst/>
              <a:gdLst>
                <a:gd name="T0" fmla="*/ 974 w 2011"/>
                <a:gd name="T1" fmla="*/ 605 h 1559"/>
                <a:gd name="T2" fmla="*/ 1078 w 2011"/>
                <a:gd name="T3" fmla="*/ 501 h 1559"/>
                <a:gd name="T4" fmla="*/ 1120 w 2011"/>
                <a:gd name="T5" fmla="*/ 404 h 1559"/>
                <a:gd name="T6" fmla="*/ 1189 w 2011"/>
                <a:gd name="T7" fmla="*/ 327 h 1559"/>
                <a:gd name="T8" fmla="*/ 1273 w 2011"/>
                <a:gd name="T9" fmla="*/ 181 h 1559"/>
                <a:gd name="T10" fmla="*/ 1377 w 2011"/>
                <a:gd name="T11" fmla="*/ 77 h 1559"/>
                <a:gd name="T12" fmla="*/ 1579 w 2011"/>
                <a:gd name="T13" fmla="*/ 118 h 1559"/>
                <a:gd name="T14" fmla="*/ 1878 w 2011"/>
                <a:gd name="T15" fmla="*/ 292 h 1559"/>
                <a:gd name="T16" fmla="*/ 1941 w 2011"/>
                <a:gd name="T17" fmla="*/ 480 h 1559"/>
                <a:gd name="T18" fmla="*/ 1927 w 2011"/>
                <a:gd name="T19" fmla="*/ 633 h 1559"/>
                <a:gd name="T20" fmla="*/ 1913 w 2011"/>
                <a:gd name="T21" fmla="*/ 710 h 1559"/>
                <a:gd name="T22" fmla="*/ 1955 w 2011"/>
                <a:gd name="T23" fmla="*/ 835 h 1559"/>
                <a:gd name="T24" fmla="*/ 1899 w 2011"/>
                <a:gd name="T25" fmla="*/ 883 h 1559"/>
                <a:gd name="T26" fmla="*/ 1795 w 2011"/>
                <a:gd name="T27" fmla="*/ 995 h 1559"/>
                <a:gd name="T28" fmla="*/ 1683 w 2011"/>
                <a:gd name="T29" fmla="*/ 939 h 1559"/>
                <a:gd name="T30" fmla="*/ 1663 w 2011"/>
                <a:gd name="T31" fmla="*/ 1071 h 1559"/>
                <a:gd name="T32" fmla="*/ 1663 w 2011"/>
                <a:gd name="T33" fmla="*/ 1204 h 1559"/>
                <a:gd name="T34" fmla="*/ 1711 w 2011"/>
                <a:gd name="T35" fmla="*/ 1329 h 1559"/>
                <a:gd name="T36" fmla="*/ 1516 w 2011"/>
                <a:gd name="T37" fmla="*/ 1419 h 1559"/>
                <a:gd name="T38" fmla="*/ 1356 w 2011"/>
                <a:gd name="T39" fmla="*/ 1440 h 1559"/>
                <a:gd name="T40" fmla="*/ 1203 w 2011"/>
                <a:gd name="T41" fmla="*/ 1461 h 1559"/>
                <a:gd name="T42" fmla="*/ 1092 w 2011"/>
                <a:gd name="T43" fmla="*/ 1558 h 1559"/>
                <a:gd name="T44" fmla="*/ 1009 w 2011"/>
                <a:gd name="T45" fmla="*/ 1523 h 1559"/>
                <a:gd name="T46" fmla="*/ 883 w 2011"/>
                <a:gd name="T47" fmla="*/ 1461 h 1559"/>
                <a:gd name="T48" fmla="*/ 786 w 2011"/>
                <a:gd name="T49" fmla="*/ 1398 h 1559"/>
                <a:gd name="T50" fmla="*/ 682 w 2011"/>
                <a:gd name="T51" fmla="*/ 1371 h 1559"/>
                <a:gd name="T52" fmla="*/ 556 w 2011"/>
                <a:gd name="T53" fmla="*/ 1294 h 1559"/>
                <a:gd name="T54" fmla="*/ 424 w 2011"/>
                <a:gd name="T55" fmla="*/ 1259 h 1559"/>
                <a:gd name="T56" fmla="*/ 292 w 2011"/>
                <a:gd name="T57" fmla="*/ 1259 h 1559"/>
                <a:gd name="T58" fmla="*/ 230 w 2011"/>
                <a:gd name="T59" fmla="*/ 1371 h 1559"/>
                <a:gd name="T60" fmla="*/ 285 w 2011"/>
                <a:gd name="T61" fmla="*/ 1503 h 1559"/>
                <a:gd name="T62" fmla="*/ 153 w 2011"/>
                <a:gd name="T63" fmla="*/ 1454 h 1559"/>
                <a:gd name="T64" fmla="*/ 63 w 2011"/>
                <a:gd name="T65" fmla="*/ 1336 h 1559"/>
                <a:gd name="T66" fmla="*/ 90 w 2011"/>
                <a:gd name="T67" fmla="*/ 1231 h 1559"/>
                <a:gd name="T68" fmla="*/ 132 w 2011"/>
                <a:gd name="T69" fmla="*/ 1162 h 1559"/>
                <a:gd name="T70" fmla="*/ 111 w 2011"/>
                <a:gd name="T71" fmla="*/ 1064 h 1559"/>
                <a:gd name="T72" fmla="*/ 76 w 2011"/>
                <a:gd name="T73" fmla="*/ 918 h 1559"/>
                <a:gd name="T74" fmla="*/ 132 w 2011"/>
                <a:gd name="T75" fmla="*/ 863 h 1559"/>
                <a:gd name="T76" fmla="*/ 209 w 2011"/>
                <a:gd name="T77" fmla="*/ 737 h 1559"/>
                <a:gd name="T78" fmla="*/ 292 w 2011"/>
                <a:gd name="T79" fmla="*/ 744 h 1559"/>
                <a:gd name="T80" fmla="*/ 382 w 2011"/>
                <a:gd name="T81" fmla="*/ 675 h 1559"/>
                <a:gd name="T82" fmla="*/ 424 w 2011"/>
                <a:gd name="T83" fmla="*/ 654 h 1559"/>
                <a:gd name="T84" fmla="*/ 355 w 2011"/>
                <a:gd name="T85" fmla="*/ 515 h 1559"/>
                <a:gd name="T86" fmla="*/ 431 w 2011"/>
                <a:gd name="T87" fmla="*/ 487 h 1559"/>
                <a:gd name="T88" fmla="*/ 515 w 2011"/>
                <a:gd name="T89" fmla="*/ 404 h 1559"/>
                <a:gd name="T90" fmla="*/ 598 w 2011"/>
                <a:gd name="T91" fmla="*/ 404 h 1559"/>
                <a:gd name="T92" fmla="*/ 695 w 2011"/>
                <a:gd name="T93" fmla="*/ 438 h 1559"/>
                <a:gd name="T94" fmla="*/ 800 w 2011"/>
                <a:gd name="T95" fmla="*/ 480 h 1559"/>
                <a:gd name="T96" fmla="*/ 849 w 2011"/>
                <a:gd name="T97" fmla="*/ 557 h 1559"/>
                <a:gd name="T98" fmla="*/ 883 w 2011"/>
                <a:gd name="T99" fmla="*/ 682 h 1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11" h="1559">
                  <a:moveTo>
                    <a:pt x="897" y="689"/>
                  </a:moveTo>
                  <a:lnTo>
                    <a:pt x="939" y="654"/>
                  </a:lnTo>
                  <a:lnTo>
                    <a:pt x="974" y="633"/>
                  </a:lnTo>
                  <a:lnTo>
                    <a:pt x="974" y="605"/>
                  </a:lnTo>
                  <a:lnTo>
                    <a:pt x="995" y="577"/>
                  </a:lnTo>
                  <a:lnTo>
                    <a:pt x="1043" y="557"/>
                  </a:lnTo>
                  <a:lnTo>
                    <a:pt x="1043" y="550"/>
                  </a:lnTo>
                  <a:lnTo>
                    <a:pt x="1078" y="501"/>
                  </a:lnTo>
                  <a:lnTo>
                    <a:pt x="1092" y="445"/>
                  </a:lnTo>
                  <a:lnTo>
                    <a:pt x="1113" y="418"/>
                  </a:lnTo>
                  <a:lnTo>
                    <a:pt x="1113" y="410"/>
                  </a:lnTo>
                  <a:lnTo>
                    <a:pt x="1120" y="404"/>
                  </a:lnTo>
                  <a:lnTo>
                    <a:pt x="1155" y="362"/>
                  </a:lnTo>
                  <a:lnTo>
                    <a:pt x="1176" y="376"/>
                  </a:lnTo>
                  <a:lnTo>
                    <a:pt x="1189" y="348"/>
                  </a:lnTo>
                  <a:lnTo>
                    <a:pt x="1189" y="327"/>
                  </a:lnTo>
                  <a:lnTo>
                    <a:pt x="1189" y="320"/>
                  </a:lnTo>
                  <a:lnTo>
                    <a:pt x="1210" y="271"/>
                  </a:lnTo>
                  <a:lnTo>
                    <a:pt x="1252" y="209"/>
                  </a:lnTo>
                  <a:lnTo>
                    <a:pt x="1273" y="181"/>
                  </a:lnTo>
                  <a:lnTo>
                    <a:pt x="1301" y="160"/>
                  </a:lnTo>
                  <a:lnTo>
                    <a:pt x="1343" y="125"/>
                  </a:lnTo>
                  <a:lnTo>
                    <a:pt x="1384" y="97"/>
                  </a:lnTo>
                  <a:lnTo>
                    <a:pt x="1377" y="77"/>
                  </a:lnTo>
                  <a:lnTo>
                    <a:pt x="1356" y="63"/>
                  </a:lnTo>
                  <a:lnTo>
                    <a:pt x="1384" y="0"/>
                  </a:lnTo>
                  <a:lnTo>
                    <a:pt x="1468" y="56"/>
                  </a:lnTo>
                  <a:lnTo>
                    <a:pt x="1579" y="118"/>
                  </a:lnTo>
                  <a:lnTo>
                    <a:pt x="1746" y="160"/>
                  </a:lnTo>
                  <a:lnTo>
                    <a:pt x="1746" y="181"/>
                  </a:lnTo>
                  <a:lnTo>
                    <a:pt x="1795" y="209"/>
                  </a:lnTo>
                  <a:lnTo>
                    <a:pt x="1878" y="292"/>
                  </a:lnTo>
                  <a:lnTo>
                    <a:pt x="1975" y="320"/>
                  </a:lnTo>
                  <a:lnTo>
                    <a:pt x="1969" y="341"/>
                  </a:lnTo>
                  <a:lnTo>
                    <a:pt x="1975" y="424"/>
                  </a:lnTo>
                  <a:lnTo>
                    <a:pt x="1941" y="480"/>
                  </a:lnTo>
                  <a:lnTo>
                    <a:pt x="1913" y="536"/>
                  </a:lnTo>
                  <a:lnTo>
                    <a:pt x="1913" y="543"/>
                  </a:lnTo>
                  <a:lnTo>
                    <a:pt x="1934" y="577"/>
                  </a:lnTo>
                  <a:lnTo>
                    <a:pt x="1927" y="633"/>
                  </a:lnTo>
                  <a:lnTo>
                    <a:pt x="1913" y="654"/>
                  </a:lnTo>
                  <a:lnTo>
                    <a:pt x="1913" y="675"/>
                  </a:lnTo>
                  <a:lnTo>
                    <a:pt x="1941" y="710"/>
                  </a:lnTo>
                  <a:lnTo>
                    <a:pt x="1913" y="710"/>
                  </a:lnTo>
                  <a:lnTo>
                    <a:pt x="1955" y="772"/>
                  </a:lnTo>
                  <a:lnTo>
                    <a:pt x="2003" y="800"/>
                  </a:lnTo>
                  <a:lnTo>
                    <a:pt x="2010" y="807"/>
                  </a:lnTo>
                  <a:lnTo>
                    <a:pt x="1955" y="835"/>
                  </a:lnTo>
                  <a:lnTo>
                    <a:pt x="1927" y="849"/>
                  </a:lnTo>
                  <a:lnTo>
                    <a:pt x="1913" y="877"/>
                  </a:lnTo>
                  <a:lnTo>
                    <a:pt x="1899" y="870"/>
                  </a:lnTo>
                  <a:lnTo>
                    <a:pt x="1899" y="883"/>
                  </a:lnTo>
                  <a:lnTo>
                    <a:pt x="1829" y="918"/>
                  </a:lnTo>
                  <a:lnTo>
                    <a:pt x="1816" y="960"/>
                  </a:lnTo>
                  <a:lnTo>
                    <a:pt x="1802" y="960"/>
                  </a:lnTo>
                  <a:lnTo>
                    <a:pt x="1795" y="995"/>
                  </a:lnTo>
                  <a:lnTo>
                    <a:pt x="1767" y="995"/>
                  </a:lnTo>
                  <a:lnTo>
                    <a:pt x="1739" y="974"/>
                  </a:lnTo>
                  <a:lnTo>
                    <a:pt x="1732" y="967"/>
                  </a:lnTo>
                  <a:lnTo>
                    <a:pt x="1683" y="939"/>
                  </a:lnTo>
                  <a:lnTo>
                    <a:pt x="1669" y="946"/>
                  </a:lnTo>
                  <a:lnTo>
                    <a:pt x="1635" y="995"/>
                  </a:lnTo>
                  <a:lnTo>
                    <a:pt x="1663" y="1016"/>
                  </a:lnTo>
                  <a:lnTo>
                    <a:pt x="1663" y="1071"/>
                  </a:lnTo>
                  <a:lnTo>
                    <a:pt x="1663" y="1106"/>
                  </a:lnTo>
                  <a:lnTo>
                    <a:pt x="1649" y="1134"/>
                  </a:lnTo>
                  <a:lnTo>
                    <a:pt x="1642" y="1162"/>
                  </a:lnTo>
                  <a:lnTo>
                    <a:pt x="1663" y="1204"/>
                  </a:lnTo>
                  <a:lnTo>
                    <a:pt x="1683" y="1210"/>
                  </a:lnTo>
                  <a:lnTo>
                    <a:pt x="1760" y="1280"/>
                  </a:lnTo>
                  <a:lnTo>
                    <a:pt x="1725" y="1301"/>
                  </a:lnTo>
                  <a:lnTo>
                    <a:pt x="1711" y="1329"/>
                  </a:lnTo>
                  <a:lnTo>
                    <a:pt x="1669" y="1343"/>
                  </a:lnTo>
                  <a:lnTo>
                    <a:pt x="1572" y="1371"/>
                  </a:lnTo>
                  <a:lnTo>
                    <a:pt x="1537" y="1405"/>
                  </a:lnTo>
                  <a:lnTo>
                    <a:pt x="1516" y="1419"/>
                  </a:lnTo>
                  <a:lnTo>
                    <a:pt x="1510" y="1426"/>
                  </a:lnTo>
                  <a:lnTo>
                    <a:pt x="1405" y="1364"/>
                  </a:lnTo>
                  <a:lnTo>
                    <a:pt x="1377" y="1377"/>
                  </a:lnTo>
                  <a:lnTo>
                    <a:pt x="1356" y="1440"/>
                  </a:lnTo>
                  <a:lnTo>
                    <a:pt x="1350" y="1440"/>
                  </a:lnTo>
                  <a:lnTo>
                    <a:pt x="1273" y="1475"/>
                  </a:lnTo>
                  <a:lnTo>
                    <a:pt x="1252" y="1454"/>
                  </a:lnTo>
                  <a:lnTo>
                    <a:pt x="1203" y="1461"/>
                  </a:lnTo>
                  <a:lnTo>
                    <a:pt x="1189" y="1496"/>
                  </a:lnTo>
                  <a:lnTo>
                    <a:pt x="1183" y="1489"/>
                  </a:lnTo>
                  <a:lnTo>
                    <a:pt x="1113" y="1551"/>
                  </a:lnTo>
                  <a:lnTo>
                    <a:pt x="1092" y="1558"/>
                  </a:lnTo>
                  <a:lnTo>
                    <a:pt x="1071" y="1537"/>
                  </a:lnTo>
                  <a:lnTo>
                    <a:pt x="1071" y="1531"/>
                  </a:lnTo>
                  <a:lnTo>
                    <a:pt x="1037" y="1496"/>
                  </a:lnTo>
                  <a:lnTo>
                    <a:pt x="1009" y="1523"/>
                  </a:lnTo>
                  <a:lnTo>
                    <a:pt x="974" y="1510"/>
                  </a:lnTo>
                  <a:lnTo>
                    <a:pt x="925" y="1510"/>
                  </a:lnTo>
                  <a:lnTo>
                    <a:pt x="890" y="1468"/>
                  </a:lnTo>
                  <a:lnTo>
                    <a:pt x="883" y="1461"/>
                  </a:lnTo>
                  <a:lnTo>
                    <a:pt x="883" y="1433"/>
                  </a:lnTo>
                  <a:lnTo>
                    <a:pt x="849" y="1419"/>
                  </a:lnTo>
                  <a:lnTo>
                    <a:pt x="800" y="1405"/>
                  </a:lnTo>
                  <a:lnTo>
                    <a:pt x="786" y="1398"/>
                  </a:lnTo>
                  <a:lnTo>
                    <a:pt x="779" y="1391"/>
                  </a:lnTo>
                  <a:lnTo>
                    <a:pt x="758" y="1398"/>
                  </a:lnTo>
                  <a:lnTo>
                    <a:pt x="723" y="1377"/>
                  </a:lnTo>
                  <a:lnTo>
                    <a:pt x="682" y="1371"/>
                  </a:lnTo>
                  <a:lnTo>
                    <a:pt x="654" y="1364"/>
                  </a:lnTo>
                  <a:lnTo>
                    <a:pt x="563" y="1322"/>
                  </a:lnTo>
                  <a:lnTo>
                    <a:pt x="570" y="1301"/>
                  </a:lnTo>
                  <a:lnTo>
                    <a:pt x="556" y="1294"/>
                  </a:lnTo>
                  <a:lnTo>
                    <a:pt x="522" y="1294"/>
                  </a:lnTo>
                  <a:lnTo>
                    <a:pt x="494" y="1273"/>
                  </a:lnTo>
                  <a:lnTo>
                    <a:pt x="459" y="1266"/>
                  </a:lnTo>
                  <a:lnTo>
                    <a:pt x="424" y="1259"/>
                  </a:lnTo>
                  <a:lnTo>
                    <a:pt x="389" y="1259"/>
                  </a:lnTo>
                  <a:lnTo>
                    <a:pt x="369" y="1301"/>
                  </a:lnTo>
                  <a:lnTo>
                    <a:pt x="306" y="1238"/>
                  </a:lnTo>
                  <a:lnTo>
                    <a:pt x="292" y="1259"/>
                  </a:lnTo>
                  <a:lnTo>
                    <a:pt x="271" y="1294"/>
                  </a:lnTo>
                  <a:lnTo>
                    <a:pt x="236" y="1343"/>
                  </a:lnTo>
                  <a:lnTo>
                    <a:pt x="250" y="1343"/>
                  </a:lnTo>
                  <a:lnTo>
                    <a:pt x="230" y="1371"/>
                  </a:lnTo>
                  <a:lnTo>
                    <a:pt x="271" y="1433"/>
                  </a:lnTo>
                  <a:lnTo>
                    <a:pt x="285" y="1489"/>
                  </a:lnTo>
                  <a:lnTo>
                    <a:pt x="292" y="1503"/>
                  </a:lnTo>
                  <a:lnTo>
                    <a:pt x="285" y="1503"/>
                  </a:lnTo>
                  <a:lnTo>
                    <a:pt x="250" y="1475"/>
                  </a:lnTo>
                  <a:lnTo>
                    <a:pt x="167" y="1496"/>
                  </a:lnTo>
                  <a:lnTo>
                    <a:pt x="160" y="1468"/>
                  </a:lnTo>
                  <a:lnTo>
                    <a:pt x="153" y="1454"/>
                  </a:lnTo>
                  <a:lnTo>
                    <a:pt x="97" y="1405"/>
                  </a:lnTo>
                  <a:lnTo>
                    <a:pt x="111" y="1391"/>
                  </a:lnTo>
                  <a:lnTo>
                    <a:pt x="111" y="1371"/>
                  </a:lnTo>
                  <a:lnTo>
                    <a:pt x="63" y="1336"/>
                  </a:lnTo>
                  <a:lnTo>
                    <a:pt x="90" y="1294"/>
                  </a:lnTo>
                  <a:lnTo>
                    <a:pt x="55" y="1273"/>
                  </a:lnTo>
                  <a:lnTo>
                    <a:pt x="63" y="1266"/>
                  </a:lnTo>
                  <a:lnTo>
                    <a:pt x="90" y="1231"/>
                  </a:lnTo>
                  <a:lnTo>
                    <a:pt x="132" y="1210"/>
                  </a:lnTo>
                  <a:lnTo>
                    <a:pt x="139" y="1204"/>
                  </a:lnTo>
                  <a:lnTo>
                    <a:pt x="104" y="1169"/>
                  </a:lnTo>
                  <a:lnTo>
                    <a:pt x="132" y="1162"/>
                  </a:lnTo>
                  <a:lnTo>
                    <a:pt x="139" y="1134"/>
                  </a:lnTo>
                  <a:lnTo>
                    <a:pt x="104" y="1106"/>
                  </a:lnTo>
                  <a:lnTo>
                    <a:pt x="97" y="1078"/>
                  </a:lnTo>
                  <a:lnTo>
                    <a:pt x="111" y="1064"/>
                  </a:lnTo>
                  <a:lnTo>
                    <a:pt x="104" y="1002"/>
                  </a:lnTo>
                  <a:lnTo>
                    <a:pt x="97" y="995"/>
                  </a:lnTo>
                  <a:lnTo>
                    <a:pt x="90" y="960"/>
                  </a:lnTo>
                  <a:lnTo>
                    <a:pt x="76" y="918"/>
                  </a:lnTo>
                  <a:lnTo>
                    <a:pt x="63" y="897"/>
                  </a:lnTo>
                  <a:lnTo>
                    <a:pt x="0" y="842"/>
                  </a:lnTo>
                  <a:lnTo>
                    <a:pt x="63" y="835"/>
                  </a:lnTo>
                  <a:lnTo>
                    <a:pt x="132" y="863"/>
                  </a:lnTo>
                  <a:lnTo>
                    <a:pt x="139" y="814"/>
                  </a:lnTo>
                  <a:lnTo>
                    <a:pt x="188" y="814"/>
                  </a:lnTo>
                  <a:lnTo>
                    <a:pt x="188" y="779"/>
                  </a:lnTo>
                  <a:lnTo>
                    <a:pt x="209" y="737"/>
                  </a:lnTo>
                  <a:lnTo>
                    <a:pt x="257" y="737"/>
                  </a:lnTo>
                  <a:lnTo>
                    <a:pt x="285" y="807"/>
                  </a:lnTo>
                  <a:lnTo>
                    <a:pt x="299" y="751"/>
                  </a:lnTo>
                  <a:lnTo>
                    <a:pt x="292" y="744"/>
                  </a:lnTo>
                  <a:lnTo>
                    <a:pt x="299" y="717"/>
                  </a:lnTo>
                  <a:lnTo>
                    <a:pt x="327" y="731"/>
                  </a:lnTo>
                  <a:lnTo>
                    <a:pt x="369" y="710"/>
                  </a:lnTo>
                  <a:lnTo>
                    <a:pt x="382" y="675"/>
                  </a:lnTo>
                  <a:lnTo>
                    <a:pt x="397" y="710"/>
                  </a:lnTo>
                  <a:lnTo>
                    <a:pt x="417" y="717"/>
                  </a:lnTo>
                  <a:lnTo>
                    <a:pt x="431" y="682"/>
                  </a:lnTo>
                  <a:lnTo>
                    <a:pt x="424" y="654"/>
                  </a:lnTo>
                  <a:lnTo>
                    <a:pt x="397" y="654"/>
                  </a:lnTo>
                  <a:lnTo>
                    <a:pt x="382" y="619"/>
                  </a:lnTo>
                  <a:lnTo>
                    <a:pt x="341" y="543"/>
                  </a:lnTo>
                  <a:lnTo>
                    <a:pt x="355" y="515"/>
                  </a:lnTo>
                  <a:lnTo>
                    <a:pt x="369" y="508"/>
                  </a:lnTo>
                  <a:lnTo>
                    <a:pt x="403" y="501"/>
                  </a:lnTo>
                  <a:lnTo>
                    <a:pt x="424" y="508"/>
                  </a:lnTo>
                  <a:lnTo>
                    <a:pt x="431" y="487"/>
                  </a:lnTo>
                  <a:lnTo>
                    <a:pt x="459" y="487"/>
                  </a:lnTo>
                  <a:lnTo>
                    <a:pt x="480" y="452"/>
                  </a:lnTo>
                  <a:lnTo>
                    <a:pt x="480" y="438"/>
                  </a:lnTo>
                  <a:lnTo>
                    <a:pt x="515" y="404"/>
                  </a:lnTo>
                  <a:lnTo>
                    <a:pt x="563" y="362"/>
                  </a:lnTo>
                  <a:lnTo>
                    <a:pt x="570" y="355"/>
                  </a:lnTo>
                  <a:lnTo>
                    <a:pt x="598" y="383"/>
                  </a:lnTo>
                  <a:lnTo>
                    <a:pt x="598" y="404"/>
                  </a:lnTo>
                  <a:lnTo>
                    <a:pt x="633" y="390"/>
                  </a:lnTo>
                  <a:lnTo>
                    <a:pt x="661" y="459"/>
                  </a:lnTo>
                  <a:lnTo>
                    <a:pt x="689" y="473"/>
                  </a:lnTo>
                  <a:lnTo>
                    <a:pt x="695" y="438"/>
                  </a:lnTo>
                  <a:lnTo>
                    <a:pt x="723" y="424"/>
                  </a:lnTo>
                  <a:lnTo>
                    <a:pt x="723" y="452"/>
                  </a:lnTo>
                  <a:lnTo>
                    <a:pt x="751" y="445"/>
                  </a:lnTo>
                  <a:lnTo>
                    <a:pt x="800" y="480"/>
                  </a:lnTo>
                  <a:lnTo>
                    <a:pt x="814" y="515"/>
                  </a:lnTo>
                  <a:lnTo>
                    <a:pt x="828" y="508"/>
                  </a:lnTo>
                  <a:lnTo>
                    <a:pt x="842" y="536"/>
                  </a:lnTo>
                  <a:lnTo>
                    <a:pt x="849" y="557"/>
                  </a:lnTo>
                  <a:lnTo>
                    <a:pt x="856" y="612"/>
                  </a:lnTo>
                  <a:lnTo>
                    <a:pt x="876" y="654"/>
                  </a:lnTo>
                  <a:lnTo>
                    <a:pt x="856" y="682"/>
                  </a:lnTo>
                  <a:lnTo>
                    <a:pt x="883" y="682"/>
                  </a:lnTo>
                  <a:lnTo>
                    <a:pt x="897" y="68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4" name="Freeform 63"/>
            <p:cNvSpPr>
              <a:spLocks noChangeArrowheads="1"/>
            </p:cNvSpPr>
            <p:nvPr/>
          </p:nvSpPr>
          <p:spPr bwMode="auto">
            <a:xfrm>
              <a:off x="18001204" y="6848333"/>
              <a:ext cx="1360718" cy="1248961"/>
            </a:xfrm>
            <a:custGeom>
              <a:avLst/>
              <a:gdLst>
                <a:gd name="T0" fmla="*/ 585 w 2895"/>
                <a:gd name="T1" fmla="*/ 529 h 2659"/>
                <a:gd name="T2" fmla="*/ 557 w 2895"/>
                <a:gd name="T3" fmla="*/ 432 h 2659"/>
                <a:gd name="T4" fmla="*/ 731 w 2895"/>
                <a:gd name="T5" fmla="*/ 348 h 2659"/>
                <a:gd name="T6" fmla="*/ 849 w 2895"/>
                <a:gd name="T7" fmla="*/ 167 h 2659"/>
                <a:gd name="T8" fmla="*/ 1009 w 2895"/>
                <a:gd name="T9" fmla="*/ 202 h 2659"/>
                <a:gd name="T10" fmla="*/ 1127 w 2895"/>
                <a:gd name="T11" fmla="*/ 98 h 2659"/>
                <a:gd name="T12" fmla="*/ 1301 w 2895"/>
                <a:gd name="T13" fmla="*/ 42 h 2659"/>
                <a:gd name="T14" fmla="*/ 1489 w 2895"/>
                <a:gd name="T15" fmla="*/ 118 h 2659"/>
                <a:gd name="T16" fmla="*/ 1677 w 2895"/>
                <a:gd name="T17" fmla="*/ 529 h 2659"/>
                <a:gd name="T18" fmla="*/ 1976 w 2895"/>
                <a:gd name="T19" fmla="*/ 933 h 2659"/>
                <a:gd name="T20" fmla="*/ 2289 w 2895"/>
                <a:gd name="T21" fmla="*/ 1169 h 2659"/>
                <a:gd name="T22" fmla="*/ 2393 w 2895"/>
                <a:gd name="T23" fmla="*/ 1322 h 2659"/>
                <a:gd name="T24" fmla="*/ 2616 w 2895"/>
                <a:gd name="T25" fmla="*/ 1510 h 2659"/>
                <a:gd name="T26" fmla="*/ 2853 w 2895"/>
                <a:gd name="T27" fmla="*/ 1781 h 2659"/>
                <a:gd name="T28" fmla="*/ 2853 w 2895"/>
                <a:gd name="T29" fmla="*/ 1920 h 2659"/>
                <a:gd name="T30" fmla="*/ 2699 w 2895"/>
                <a:gd name="T31" fmla="*/ 2115 h 2659"/>
                <a:gd name="T32" fmla="*/ 2630 w 2895"/>
                <a:gd name="T33" fmla="*/ 2199 h 2659"/>
                <a:gd name="T34" fmla="*/ 2553 w 2895"/>
                <a:gd name="T35" fmla="*/ 2345 h 2659"/>
                <a:gd name="T36" fmla="*/ 2449 w 2895"/>
                <a:gd name="T37" fmla="*/ 2449 h 2659"/>
                <a:gd name="T38" fmla="*/ 2366 w 2895"/>
                <a:gd name="T39" fmla="*/ 2407 h 2659"/>
                <a:gd name="T40" fmla="*/ 2310 w 2895"/>
                <a:gd name="T41" fmla="*/ 2275 h 2659"/>
                <a:gd name="T42" fmla="*/ 2199 w 2895"/>
                <a:gd name="T43" fmla="*/ 2268 h 2659"/>
                <a:gd name="T44" fmla="*/ 2080 w 2895"/>
                <a:gd name="T45" fmla="*/ 2150 h 2659"/>
                <a:gd name="T46" fmla="*/ 1969 w 2895"/>
                <a:gd name="T47" fmla="*/ 2282 h 2659"/>
                <a:gd name="T48" fmla="*/ 1865 w 2895"/>
                <a:gd name="T49" fmla="*/ 2310 h 2659"/>
                <a:gd name="T50" fmla="*/ 1941 w 2895"/>
                <a:gd name="T51" fmla="*/ 2477 h 2659"/>
                <a:gd name="T52" fmla="*/ 1837 w 2895"/>
                <a:gd name="T53" fmla="*/ 2526 h 2659"/>
                <a:gd name="T54" fmla="*/ 1767 w 2895"/>
                <a:gd name="T55" fmla="*/ 2532 h 2659"/>
                <a:gd name="T56" fmla="*/ 1642 w 2895"/>
                <a:gd name="T57" fmla="*/ 2658 h 2659"/>
                <a:gd name="T58" fmla="*/ 1454 w 2895"/>
                <a:gd name="T59" fmla="*/ 2574 h 2659"/>
                <a:gd name="T60" fmla="*/ 1378 w 2895"/>
                <a:gd name="T61" fmla="*/ 2546 h 2659"/>
                <a:gd name="T62" fmla="*/ 1218 w 2895"/>
                <a:gd name="T63" fmla="*/ 2484 h 2659"/>
                <a:gd name="T64" fmla="*/ 1092 w 2895"/>
                <a:gd name="T65" fmla="*/ 2407 h 2659"/>
                <a:gd name="T66" fmla="*/ 925 w 2895"/>
                <a:gd name="T67" fmla="*/ 2470 h 2659"/>
                <a:gd name="T68" fmla="*/ 779 w 2895"/>
                <a:gd name="T69" fmla="*/ 2386 h 2659"/>
                <a:gd name="T70" fmla="*/ 619 w 2895"/>
                <a:gd name="T71" fmla="*/ 2317 h 2659"/>
                <a:gd name="T72" fmla="*/ 564 w 2895"/>
                <a:gd name="T73" fmla="*/ 2254 h 2659"/>
                <a:gd name="T74" fmla="*/ 536 w 2895"/>
                <a:gd name="T75" fmla="*/ 2122 h 2659"/>
                <a:gd name="T76" fmla="*/ 355 w 2895"/>
                <a:gd name="T77" fmla="*/ 2011 h 2659"/>
                <a:gd name="T78" fmla="*/ 98 w 2895"/>
                <a:gd name="T79" fmla="*/ 1941 h 2659"/>
                <a:gd name="T80" fmla="*/ 0 w 2895"/>
                <a:gd name="T81" fmla="*/ 1781 h 2659"/>
                <a:gd name="T82" fmla="*/ 35 w 2895"/>
                <a:gd name="T83" fmla="*/ 1698 h 2659"/>
                <a:gd name="T84" fmla="*/ 244 w 2895"/>
                <a:gd name="T85" fmla="*/ 1628 h 2659"/>
                <a:gd name="T86" fmla="*/ 418 w 2895"/>
                <a:gd name="T87" fmla="*/ 1656 h 2659"/>
                <a:gd name="T88" fmla="*/ 550 w 2895"/>
                <a:gd name="T89" fmla="*/ 1593 h 2659"/>
                <a:gd name="T90" fmla="*/ 522 w 2895"/>
                <a:gd name="T91" fmla="*/ 1482 h 2659"/>
                <a:gd name="T92" fmla="*/ 355 w 2895"/>
                <a:gd name="T93" fmla="*/ 1350 h 2659"/>
                <a:gd name="T94" fmla="*/ 209 w 2895"/>
                <a:gd name="T95" fmla="*/ 1169 h 2659"/>
                <a:gd name="T96" fmla="*/ 160 w 2895"/>
                <a:gd name="T97" fmla="*/ 988 h 2659"/>
                <a:gd name="T98" fmla="*/ 258 w 2895"/>
                <a:gd name="T99" fmla="*/ 842 h 2659"/>
                <a:gd name="T100" fmla="*/ 244 w 2895"/>
                <a:gd name="T101" fmla="*/ 766 h 2659"/>
                <a:gd name="T102" fmla="*/ 376 w 2895"/>
                <a:gd name="T103" fmla="*/ 696 h 2659"/>
                <a:gd name="T104" fmla="*/ 599 w 2895"/>
                <a:gd name="T105" fmla="*/ 668 h 2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95" h="2659">
                  <a:moveTo>
                    <a:pt x="606" y="661"/>
                  </a:moveTo>
                  <a:lnTo>
                    <a:pt x="619" y="599"/>
                  </a:lnTo>
                  <a:lnTo>
                    <a:pt x="633" y="557"/>
                  </a:lnTo>
                  <a:lnTo>
                    <a:pt x="633" y="543"/>
                  </a:lnTo>
                  <a:lnTo>
                    <a:pt x="585" y="529"/>
                  </a:lnTo>
                  <a:lnTo>
                    <a:pt x="585" y="536"/>
                  </a:lnTo>
                  <a:lnTo>
                    <a:pt x="536" y="494"/>
                  </a:lnTo>
                  <a:lnTo>
                    <a:pt x="536" y="466"/>
                  </a:lnTo>
                  <a:lnTo>
                    <a:pt x="550" y="439"/>
                  </a:lnTo>
                  <a:lnTo>
                    <a:pt x="557" y="432"/>
                  </a:lnTo>
                  <a:lnTo>
                    <a:pt x="599" y="445"/>
                  </a:lnTo>
                  <a:lnTo>
                    <a:pt x="668" y="404"/>
                  </a:lnTo>
                  <a:lnTo>
                    <a:pt x="682" y="418"/>
                  </a:lnTo>
                  <a:lnTo>
                    <a:pt x="689" y="362"/>
                  </a:lnTo>
                  <a:lnTo>
                    <a:pt x="731" y="348"/>
                  </a:lnTo>
                  <a:lnTo>
                    <a:pt x="779" y="341"/>
                  </a:lnTo>
                  <a:lnTo>
                    <a:pt x="793" y="306"/>
                  </a:lnTo>
                  <a:lnTo>
                    <a:pt x="793" y="265"/>
                  </a:lnTo>
                  <a:lnTo>
                    <a:pt x="849" y="188"/>
                  </a:lnTo>
                  <a:lnTo>
                    <a:pt x="849" y="167"/>
                  </a:lnTo>
                  <a:lnTo>
                    <a:pt x="891" y="202"/>
                  </a:lnTo>
                  <a:lnTo>
                    <a:pt x="912" y="202"/>
                  </a:lnTo>
                  <a:lnTo>
                    <a:pt x="981" y="174"/>
                  </a:lnTo>
                  <a:lnTo>
                    <a:pt x="995" y="174"/>
                  </a:lnTo>
                  <a:lnTo>
                    <a:pt x="1009" y="202"/>
                  </a:lnTo>
                  <a:lnTo>
                    <a:pt x="1051" y="188"/>
                  </a:lnTo>
                  <a:lnTo>
                    <a:pt x="1092" y="167"/>
                  </a:lnTo>
                  <a:lnTo>
                    <a:pt x="1120" y="167"/>
                  </a:lnTo>
                  <a:lnTo>
                    <a:pt x="1127" y="133"/>
                  </a:lnTo>
                  <a:lnTo>
                    <a:pt x="1127" y="98"/>
                  </a:lnTo>
                  <a:lnTo>
                    <a:pt x="1155" y="84"/>
                  </a:lnTo>
                  <a:lnTo>
                    <a:pt x="1190" y="84"/>
                  </a:lnTo>
                  <a:lnTo>
                    <a:pt x="1218" y="77"/>
                  </a:lnTo>
                  <a:lnTo>
                    <a:pt x="1225" y="77"/>
                  </a:lnTo>
                  <a:lnTo>
                    <a:pt x="1301" y="42"/>
                  </a:lnTo>
                  <a:lnTo>
                    <a:pt x="1336" y="21"/>
                  </a:lnTo>
                  <a:lnTo>
                    <a:pt x="1413" y="7"/>
                  </a:lnTo>
                  <a:lnTo>
                    <a:pt x="1433" y="7"/>
                  </a:lnTo>
                  <a:lnTo>
                    <a:pt x="1475" y="0"/>
                  </a:lnTo>
                  <a:lnTo>
                    <a:pt x="1489" y="118"/>
                  </a:lnTo>
                  <a:lnTo>
                    <a:pt x="1510" y="174"/>
                  </a:lnTo>
                  <a:lnTo>
                    <a:pt x="1538" y="244"/>
                  </a:lnTo>
                  <a:lnTo>
                    <a:pt x="1565" y="299"/>
                  </a:lnTo>
                  <a:lnTo>
                    <a:pt x="1580" y="334"/>
                  </a:lnTo>
                  <a:lnTo>
                    <a:pt x="1677" y="529"/>
                  </a:lnTo>
                  <a:lnTo>
                    <a:pt x="1767" y="689"/>
                  </a:lnTo>
                  <a:lnTo>
                    <a:pt x="1851" y="793"/>
                  </a:lnTo>
                  <a:lnTo>
                    <a:pt x="1865" y="800"/>
                  </a:lnTo>
                  <a:lnTo>
                    <a:pt x="1913" y="870"/>
                  </a:lnTo>
                  <a:lnTo>
                    <a:pt x="1976" y="933"/>
                  </a:lnTo>
                  <a:lnTo>
                    <a:pt x="1990" y="933"/>
                  </a:lnTo>
                  <a:lnTo>
                    <a:pt x="2032" y="988"/>
                  </a:lnTo>
                  <a:lnTo>
                    <a:pt x="2136" y="1072"/>
                  </a:lnTo>
                  <a:lnTo>
                    <a:pt x="2303" y="1190"/>
                  </a:lnTo>
                  <a:lnTo>
                    <a:pt x="2289" y="1169"/>
                  </a:lnTo>
                  <a:lnTo>
                    <a:pt x="2275" y="1190"/>
                  </a:lnTo>
                  <a:lnTo>
                    <a:pt x="2303" y="1197"/>
                  </a:lnTo>
                  <a:lnTo>
                    <a:pt x="2289" y="1197"/>
                  </a:lnTo>
                  <a:lnTo>
                    <a:pt x="2338" y="1266"/>
                  </a:lnTo>
                  <a:lnTo>
                    <a:pt x="2393" y="1322"/>
                  </a:lnTo>
                  <a:lnTo>
                    <a:pt x="2435" y="1364"/>
                  </a:lnTo>
                  <a:lnTo>
                    <a:pt x="2435" y="1378"/>
                  </a:lnTo>
                  <a:lnTo>
                    <a:pt x="2470" y="1426"/>
                  </a:lnTo>
                  <a:lnTo>
                    <a:pt x="2505" y="1433"/>
                  </a:lnTo>
                  <a:lnTo>
                    <a:pt x="2616" y="1510"/>
                  </a:lnTo>
                  <a:lnTo>
                    <a:pt x="2679" y="1531"/>
                  </a:lnTo>
                  <a:lnTo>
                    <a:pt x="2783" y="1579"/>
                  </a:lnTo>
                  <a:lnTo>
                    <a:pt x="2797" y="1698"/>
                  </a:lnTo>
                  <a:lnTo>
                    <a:pt x="2790" y="1719"/>
                  </a:lnTo>
                  <a:lnTo>
                    <a:pt x="2853" y="1781"/>
                  </a:lnTo>
                  <a:lnTo>
                    <a:pt x="2894" y="1795"/>
                  </a:lnTo>
                  <a:lnTo>
                    <a:pt x="2866" y="1858"/>
                  </a:lnTo>
                  <a:lnTo>
                    <a:pt x="2887" y="1872"/>
                  </a:lnTo>
                  <a:lnTo>
                    <a:pt x="2894" y="1892"/>
                  </a:lnTo>
                  <a:lnTo>
                    <a:pt x="2853" y="1920"/>
                  </a:lnTo>
                  <a:lnTo>
                    <a:pt x="2811" y="1955"/>
                  </a:lnTo>
                  <a:lnTo>
                    <a:pt x="2783" y="1976"/>
                  </a:lnTo>
                  <a:lnTo>
                    <a:pt x="2762" y="2004"/>
                  </a:lnTo>
                  <a:lnTo>
                    <a:pt x="2720" y="2066"/>
                  </a:lnTo>
                  <a:lnTo>
                    <a:pt x="2699" y="2115"/>
                  </a:lnTo>
                  <a:lnTo>
                    <a:pt x="2699" y="2122"/>
                  </a:lnTo>
                  <a:lnTo>
                    <a:pt x="2699" y="2143"/>
                  </a:lnTo>
                  <a:lnTo>
                    <a:pt x="2686" y="2171"/>
                  </a:lnTo>
                  <a:lnTo>
                    <a:pt x="2665" y="2157"/>
                  </a:lnTo>
                  <a:lnTo>
                    <a:pt x="2630" y="2199"/>
                  </a:lnTo>
                  <a:lnTo>
                    <a:pt x="2623" y="2205"/>
                  </a:lnTo>
                  <a:lnTo>
                    <a:pt x="2623" y="2213"/>
                  </a:lnTo>
                  <a:lnTo>
                    <a:pt x="2602" y="2240"/>
                  </a:lnTo>
                  <a:lnTo>
                    <a:pt x="2588" y="2296"/>
                  </a:lnTo>
                  <a:lnTo>
                    <a:pt x="2553" y="2345"/>
                  </a:lnTo>
                  <a:lnTo>
                    <a:pt x="2553" y="2352"/>
                  </a:lnTo>
                  <a:lnTo>
                    <a:pt x="2505" y="2372"/>
                  </a:lnTo>
                  <a:lnTo>
                    <a:pt x="2484" y="2400"/>
                  </a:lnTo>
                  <a:lnTo>
                    <a:pt x="2484" y="2428"/>
                  </a:lnTo>
                  <a:lnTo>
                    <a:pt x="2449" y="2449"/>
                  </a:lnTo>
                  <a:lnTo>
                    <a:pt x="2407" y="2484"/>
                  </a:lnTo>
                  <a:lnTo>
                    <a:pt x="2393" y="2477"/>
                  </a:lnTo>
                  <a:lnTo>
                    <a:pt x="2366" y="2477"/>
                  </a:lnTo>
                  <a:lnTo>
                    <a:pt x="2386" y="2449"/>
                  </a:lnTo>
                  <a:lnTo>
                    <a:pt x="2366" y="2407"/>
                  </a:lnTo>
                  <a:lnTo>
                    <a:pt x="2359" y="2352"/>
                  </a:lnTo>
                  <a:lnTo>
                    <a:pt x="2352" y="2331"/>
                  </a:lnTo>
                  <a:lnTo>
                    <a:pt x="2338" y="2303"/>
                  </a:lnTo>
                  <a:lnTo>
                    <a:pt x="2324" y="2310"/>
                  </a:lnTo>
                  <a:lnTo>
                    <a:pt x="2310" y="2275"/>
                  </a:lnTo>
                  <a:lnTo>
                    <a:pt x="2261" y="2240"/>
                  </a:lnTo>
                  <a:lnTo>
                    <a:pt x="2233" y="2247"/>
                  </a:lnTo>
                  <a:lnTo>
                    <a:pt x="2233" y="2219"/>
                  </a:lnTo>
                  <a:lnTo>
                    <a:pt x="2205" y="2233"/>
                  </a:lnTo>
                  <a:lnTo>
                    <a:pt x="2199" y="2268"/>
                  </a:lnTo>
                  <a:lnTo>
                    <a:pt x="2171" y="2254"/>
                  </a:lnTo>
                  <a:lnTo>
                    <a:pt x="2143" y="2185"/>
                  </a:lnTo>
                  <a:lnTo>
                    <a:pt x="2108" y="2199"/>
                  </a:lnTo>
                  <a:lnTo>
                    <a:pt x="2108" y="2178"/>
                  </a:lnTo>
                  <a:lnTo>
                    <a:pt x="2080" y="2150"/>
                  </a:lnTo>
                  <a:lnTo>
                    <a:pt x="2073" y="2157"/>
                  </a:lnTo>
                  <a:lnTo>
                    <a:pt x="2025" y="2199"/>
                  </a:lnTo>
                  <a:lnTo>
                    <a:pt x="1990" y="2233"/>
                  </a:lnTo>
                  <a:lnTo>
                    <a:pt x="1990" y="2247"/>
                  </a:lnTo>
                  <a:lnTo>
                    <a:pt x="1969" y="2282"/>
                  </a:lnTo>
                  <a:lnTo>
                    <a:pt x="1941" y="2282"/>
                  </a:lnTo>
                  <a:lnTo>
                    <a:pt x="1934" y="2303"/>
                  </a:lnTo>
                  <a:lnTo>
                    <a:pt x="1913" y="2296"/>
                  </a:lnTo>
                  <a:lnTo>
                    <a:pt x="1879" y="2303"/>
                  </a:lnTo>
                  <a:lnTo>
                    <a:pt x="1865" y="2310"/>
                  </a:lnTo>
                  <a:lnTo>
                    <a:pt x="1851" y="2338"/>
                  </a:lnTo>
                  <a:lnTo>
                    <a:pt x="1892" y="2414"/>
                  </a:lnTo>
                  <a:lnTo>
                    <a:pt x="1907" y="2449"/>
                  </a:lnTo>
                  <a:lnTo>
                    <a:pt x="1934" y="2449"/>
                  </a:lnTo>
                  <a:lnTo>
                    <a:pt x="1941" y="2477"/>
                  </a:lnTo>
                  <a:lnTo>
                    <a:pt x="1927" y="2512"/>
                  </a:lnTo>
                  <a:lnTo>
                    <a:pt x="1907" y="2505"/>
                  </a:lnTo>
                  <a:lnTo>
                    <a:pt x="1892" y="2470"/>
                  </a:lnTo>
                  <a:lnTo>
                    <a:pt x="1879" y="2505"/>
                  </a:lnTo>
                  <a:lnTo>
                    <a:pt x="1837" y="2526"/>
                  </a:lnTo>
                  <a:lnTo>
                    <a:pt x="1809" y="2512"/>
                  </a:lnTo>
                  <a:lnTo>
                    <a:pt x="1802" y="2539"/>
                  </a:lnTo>
                  <a:lnTo>
                    <a:pt x="1809" y="2546"/>
                  </a:lnTo>
                  <a:lnTo>
                    <a:pt x="1795" y="2602"/>
                  </a:lnTo>
                  <a:lnTo>
                    <a:pt x="1767" y="2532"/>
                  </a:lnTo>
                  <a:lnTo>
                    <a:pt x="1719" y="2532"/>
                  </a:lnTo>
                  <a:lnTo>
                    <a:pt x="1698" y="2574"/>
                  </a:lnTo>
                  <a:lnTo>
                    <a:pt x="1698" y="2609"/>
                  </a:lnTo>
                  <a:lnTo>
                    <a:pt x="1649" y="2609"/>
                  </a:lnTo>
                  <a:lnTo>
                    <a:pt x="1642" y="2658"/>
                  </a:lnTo>
                  <a:lnTo>
                    <a:pt x="1573" y="2630"/>
                  </a:lnTo>
                  <a:lnTo>
                    <a:pt x="1510" y="2637"/>
                  </a:lnTo>
                  <a:lnTo>
                    <a:pt x="1489" y="2602"/>
                  </a:lnTo>
                  <a:lnTo>
                    <a:pt x="1482" y="2581"/>
                  </a:lnTo>
                  <a:lnTo>
                    <a:pt x="1454" y="2574"/>
                  </a:lnTo>
                  <a:lnTo>
                    <a:pt x="1440" y="2560"/>
                  </a:lnTo>
                  <a:lnTo>
                    <a:pt x="1440" y="2539"/>
                  </a:lnTo>
                  <a:lnTo>
                    <a:pt x="1433" y="2532"/>
                  </a:lnTo>
                  <a:lnTo>
                    <a:pt x="1419" y="2539"/>
                  </a:lnTo>
                  <a:lnTo>
                    <a:pt x="1378" y="2546"/>
                  </a:lnTo>
                  <a:lnTo>
                    <a:pt x="1315" y="2526"/>
                  </a:lnTo>
                  <a:lnTo>
                    <a:pt x="1308" y="2498"/>
                  </a:lnTo>
                  <a:lnTo>
                    <a:pt x="1259" y="2526"/>
                  </a:lnTo>
                  <a:lnTo>
                    <a:pt x="1239" y="2505"/>
                  </a:lnTo>
                  <a:lnTo>
                    <a:pt x="1218" y="2484"/>
                  </a:lnTo>
                  <a:lnTo>
                    <a:pt x="1204" y="2477"/>
                  </a:lnTo>
                  <a:lnTo>
                    <a:pt x="1190" y="2449"/>
                  </a:lnTo>
                  <a:lnTo>
                    <a:pt x="1162" y="2400"/>
                  </a:lnTo>
                  <a:lnTo>
                    <a:pt x="1127" y="2428"/>
                  </a:lnTo>
                  <a:lnTo>
                    <a:pt x="1092" y="2407"/>
                  </a:lnTo>
                  <a:lnTo>
                    <a:pt x="1051" y="2372"/>
                  </a:lnTo>
                  <a:lnTo>
                    <a:pt x="1016" y="2386"/>
                  </a:lnTo>
                  <a:lnTo>
                    <a:pt x="1023" y="2414"/>
                  </a:lnTo>
                  <a:lnTo>
                    <a:pt x="974" y="2442"/>
                  </a:lnTo>
                  <a:lnTo>
                    <a:pt x="925" y="2470"/>
                  </a:lnTo>
                  <a:lnTo>
                    <a:pt x="912" y="2498"/>
                  </a:lnTo>
                  <a:lnTo>
                    <a:pt x="821" y="2449"/>
                  </a:lnTo>
                  <a:lnTo>
                    <a:pt x="821" y="2442"/>
                  </a:lnTo>
                  <a:lnTo>
                    <a:pt x="793" y="2400"/>
                  </a:lnTo>
                  <a:lnTo>
                    <a:pt x="779" y="2386"/>
                  </a:lnTo>
                  <a:lnTo>
                    <a:pt x="766" y="2386"/>
                  </a:lnTo>
                  <a:lnTo>
                    <a:pt x="759" y="2386"/>
                  </a:lnTo>
                  <a:lnTo>
                    <a:pt x="703" y="2345"/>
                  </a:lnTo>
                  <a:lnTo>
                    <a:pt x="647" y="2317"/>
                  </a:lnTo>
                  <a:lnTo>
                    <a:pt x="619" y="2317"/>
                  </a:lnTo>
                  <a:lnTo>
                    <a:pt x="606" y="2352"/>
                  </a:lnTo>
                  <a:lnTo>
                    <a:pt x="592" y="2352"/>
                  </a:lnTo>
                  <a:lnTo>
                    <a:pt x="571" y="2338"/>
                  </a:lnTo>
                  <a:lnTo>
                    <a:pt x="564" y="2310"/>
                  </a:lnTo>
                  <a:lnTo>
                    <a:pt x="564" y="2254"/>
                  </a:lnTo>
                  <a:lnTo>
                    <a:pt x="557" y="2240"/>
                  </a:lnTo>
                  <a:lnTo>
                    <a:pt x="592" y="2171"/>
                  </a:lnTo>
                  <a:lnTo>
                    <a:pt x="585" y="2150"/>
                  </a:lnTo>
                  <a:lnTo>
                    <a:pt x="550" y="2115"/>
                  </a:lnTo>
                  <a:lnTo>
                    <a:pt x="536" y="2122"/>
                  </a:lnTo>
                  <a:lnTo>
                    <a:pt x="494" y="2080"/>
                  </a:lnTo>
                  <a:lnTo>
                    <a:pt x="460" y="2066"/>
                  </a:lnTo>
                  <a:lnTo>
                    <a:pt x="452" y="2073"/>
                  </a:lnTo>
                  <a:lnTo>
                    <a:pt x="432" y="2052"/>
                  </a:lnTo>
                  <a:lnTo>
                    <a:pt x="355" y="2011"/>
                  </a:lnTo>
                  <a:lnTo>
                    <a:pt x="293" y="1983"/>
                  </a:lnTo>
                  <a:lnTo>
                    <a:pt x="133" y="1892"/>
                  </a:lnTo>
                  <a:lnTo>
                    <a:pt x="133" y="1927"/>
                  </a:lnTo>
                  <a:lnTo>
                    <a:pt x="112" y="1941"/>
                  </a:lnTo>
                  <a:lnTo>
                    <a:pt x="98" y="1941"/>
                  </a:lnTo>
                  <a:lnTo>
                    <a:pt x="42" y="1906"/>
                  </a:lnTo>
                  <a:lnTo>
                    <a:pt x="42" y="1892"/>
                  </a:lnTo>
                  <a:lnTo>
                    <a:pt x="7" y="1851"/>
                  </a:lnTo>
                  <a:lnTo>
                    <a:pt x="0" y="1816"/>
                  </a:lnTo>
                  <a:lnTo>
                    <a:pt x="0" y="1781"/>
                  </a:lnTo>
                  <a:lnTo>
                    <a:pt x="0" y="1753"/>
                  </a:lnTo>
                  <a:lnTo>
                    <a:pt x="7" y="1746"/>
                  </a:lnTo>
                  <a:lnTo>
                    <a:pt x="14" y="1698"/>
                  </a:lnTo>
                  <a:lnTo>
                    <a:pt x="14" y="1691"/>
                  </a:lnTo>
                  <a:lnTo>
                    <a:pt x="35" y="1698"/>
                  </a:lnTo>
                  <a:lnTo>
                    <a:pt x="91" y="1656"/>
                  </a:lnTo>
                  <a:lnTo>
                    <a:pt x="112" y="1593"/>
                  </a:lnTo>
                  <a:lnTo>
                    <a:pt x="105" y="1565"/>
                  </a:lnTo>
                  <a:lnTo>
                    <a:pt x="174" y="1579"/>
                  </a:lnTo>
                  <a:lnTo>
                    <a:pt x="244" y="1628"/>
                  </a:lnTo>
                  <a:lnTo>
                    <a:pt x="265" y="1614"/>
                  </a:lnTo>
                  <a:lnTo>
                    <a:pt x="334" y="1656"/>
                  </a:lnTo>
                  <a:lnTo>
                    <a:pt x="355" y="1677"/>
                  </a:lnTo>
                  <a:lnTo>
                    <a:pt x="369" y="1684"/>
                  </a:lnTo>
                  <a:lnTo>
                    <a:pt x="418" y="1656"/>
                  </a:lnTo>
                  <a:lnTo>
                    <a:pt x="432" y="1677"/>
                  </a:lnTo>
                  <a:lnTo>
                    <a:pt x="460" y="1677"/>
                  </a:lnTo>
                  <a:lnTo>
                    <a:pt x="501" y="1621"/>
                  </a:lnTo>
                  <a:lnTo>
                    <a:pt x="494" y="1607"/>
                  </a:lnTo>
                  <a:lnTo>
                    <a:pt x="550" y="1593"/>
                  </a:lnTo>
                  <a:lnTo>
                    <a:pt x="529" y="1579"/>
                  </a:lnTo>
                  <a:lnTo>
                    <a:pt x="585" y="1565"/>
                  </a:lnTo>
                  <a:lnTo>
                    <a:pt x="564" y="1552"/>
                  </a:lnTo>
                  <a:lnTo>
                    <a:pt x="508" y="1496"/>
                  </a:lnTo>
                  <a:lnTo>
                    <a:pt x="522" y="1482"/>
                  </a:lnTo>
                  <a:lnTo>
                    <a:pt x="508" y="1468"/>
                  </a:lnTo>
                  <a:lnTo>
                    <a:pt x="460" y="1454"/>
                  </a:lnTo>
                  <a:lnTo>
                    <a:pt x="418" y="1412"/>
                  </a:lnTo>
                  <a:lnTo>
                    <a:pt x="362" y="1364"/>
                  </a:lnTo>
                  <a:lnTo>
                    <a:pt x="355" y="1350"/>
                  </a:lnTo>
                  <a:lnTo>
                    <a:pt x="341" y="1252"/>
                  </a:lnTo>
                  <a:lnTo>
                    <a:pt x="293" y="1225"/>
                  </a:lnTo>
                  <a:lnTo>
                    <a:pt x="258" y="1204"/>
                  </a:lnTo>
                  <a:lnTo>
                    <a:pt x="244" y="1197"/>
                  </a:lnTo>
                  <a:lnTo>
                    <a:pt x="209" y="1169"/>
                  </a:lnTo>
                  <a:lnTo>
                    <a:pt x="265" y="1127"/>
                  </a:lnTo>
                  <a:lnTo>
                    <a:pt x="279" y="1092"/>
                  </a:lnTo>
                  <a:lnTo>
                    <a:pt x="272" y="1072"/>
                  </a:lnTo>
                  <a:lnTo>
                    <a:pt x="237" y="1065"/>
                  </a:lnTo>
                  <a:lnTo>
                    <a:pt x="160" y="988"/>
                  </a:lnTo>
                  <a:lnTo>
                    <a:pt x="195" y="939"/>
                  </a:lnTo>
                  <a:lnTo>
                    <a:pt x="223" y="939"/>
                  </a:lnTo>
                  <a:lnTo>
                    <a:pt x="258" y="905"/>
                  </a:lnTo>
                  <a:lnTo>
                    <a:pt x="244" y="898"/>
                  </a:lnTo>
                  <a:lnTo>
                    <a:pt x="258" y="842"/>
                  </a:lnTo>
                  <a:lnTo>
                    <a:pt x="237" y="828"/>
                  </a:lnTo>
                  <a:lnTo>
                    <a:pt x="230" y="800"/>
                  </a:lnTo>
                  <a:lnTo>
                    <a:pt x="223" y="773"/>
                  </a:lnTo>
                  <a:lnTo>
                    <a:pt x="237" y="786"/>
                  </a:lnTo>
                  <a:lnTo>
                    <a:pt x="244" y="766"/>
                  </a:lnTo>
                  <a:lnTo>
                    <a:pt x="258" y="710"/>
                  </a:lnTo>
                  <a:lnTo>
                    <a:pt x="279" y="696"/>
                  </a:lnTo>
                  <a:lnTo>
                    <a:pt x="279" y="668"/>
                  </a:lnTo>
                  <a:lnTo>
                    <a:pt x="341" y="689"/>
                  </a:lnTo>
                  <a:lnTo>
                    <a:pt x="376" y="696"/>
                  </a:lnTo>
                  <a:lnTo>
                    <a:pt x="425" y="675"/>
                  </a:lnTo>
                  <a:lnTo>
                    <a:pt x="452" y="703"/>
                  </a:lnTo>
                  <a:lnTo>
                    <a:pt x="508" y="689"/>
                  </a:lnTo>
                  <a:lnTo>
                    <a:pt x="550" y="696"/>
                  </a:lnTo>
                  <a:lnTo>
                    <a:pt x="599" y="668"/>
                  </a:lnTo>
                  <a:lnTo>
                    <a:pt x="606" y="66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5" name="Freeform 64"/>
            <p:cNvSpPr>
              <a:spLocks noChangeArrowheads="1"/>
            </p:cNvSpPr>
            <p:nvPr/>
          </p:nvSpPr>
          <p:spPr bwMode="auto">
            <a:xfrm>
              <a:off x="16785462" y="6904256"/>
              <a:ext cx="1990337" cy="1679778"/>
            </a:xfrm>
            <a:custGeom>
              <a:avLst/>
              <a:gdLst>
                <a:gd name="T0" fmla="*/ 3972 w 4237"/>
                <a:gd name="T1" fmla="*/ 3131 h 3576"/>
                <a:gd name="T2" fmla="*/ 4160 w 4237"/>
                <a:gd name="T3" fmla="*/ 3013 h 3576"/>
                <a:gd name="T4" fmla="*/ 4201 w 4237"/>
                <a:gd name="T5" fmla="*/ 2846 h 3576"/>
                <a:gd name="T6" fmla="*/ 4194 w 4237"/>
                <a:gd name="T7" fmla="*/ 2672 h 3576"/>
                <a:gd name="T8" fmla="*/ 4041 w 4237"/>
                <a:gd name="T9" fmla="*/ 2456 h 3576"/>
                <a:gd name="T10" fmla="*/ 3895 w 4237"/>
                <a:gd name="T11" fmla="*/ 2380 h 3576"/>
                <a:gd name="T12" fmla="*/ 3714 w 4237"/>
                <a:gd name="T13" fmla="*/ 2310 h 3576"/>
                <a:gd name="T14" fmla="*/ 3499 w 4237"/>
                <a:gd name="T15" fmla="*/ 2380 h 3576"/>
                <a:gd name="T16" fmla="*/ 3290 w 4237"/>
                <a:gd name="T17" fmla="*/ 2227 h 3576"/>
                <a:gd name="T18" fmla="*/ 3151 w 4237"/>
                <a:gd name="T19" fmla="*/ 2136 h 3576"/>
                <a:gd name="T20" fmla="*/ 3047 w 4237"/>
                <a:gd name="T21" fmla="*/ 1948 h 3576"/>
                <a:gd name="T22" fmla="*/ 2699 w 4237"/>
                <a:gd name="T23" fmla="*/ 1823 h 3576"/>
                <a:gd name="T24" fmla="*/ 2587 w 4237"/>
                <a:gd name="T25" fmla="*/ 1635 h 3576"/>
                <a:gd name="T26" fmla="*/ 2692 w 4237"/>
                <a:gd name="T27" fmla="*/ 1447 h 3576"/>
                <a:gd name="T28" fmla="*/ 3005 w 4237"/>
                <a:gd name="T29" fmla="*/ 1538 h 3576"/>
                <a:gd name="T30" fmla="*/ 3172 w 4237"/>
                <a:gd name="T31" fmla="*/ 1447 h 3576"/>
                <a:gd name="T32" fmla="*/ 2949 w 4237"/>
                <a:gd name="T33" fmla="*/ 1246 h 3576"/>
                <a:gd name="T34" fmla="*/ 2852 w 4237"/>
                <a:gd name="T35" fmla="*/ 1009 h 3576"/>
                <a:gd name="T36" fmla="*/ 2845 w 4237"/>
                <a:gd name="T37" fmla="*/ 787 h 3576"/>
                <a:gd name="T38" fmla="*/ 2831 w 4237"/>
                <a:gd name="T39" fmla="*/ 648 h 3576"/>
                <a:gd name="T40" fmla="*/ 3039 w 4237"/>
                <a:gd name="T41" fmla="*/ 585 h 3576"/>
                <a:gd name="T42" fmla="*/ 3220 w 4237"/>
                <a:gd name="T43" fmla="*/ 425 h 3576"/>
                <a:gd name="T44" fmla="*/ 3039 w 4237"/>
                <a:gd name="T45" fmla="*/ 244 h 3576"/>
                <a:gd name="T46" fmla="*/ 2852 w 4237"/>
                <a:gd name="T47" fmla="*/ 348 h 3576"/>
                <a:gd name="T48" fmla="*/ 2601 w 4237"/>
                <a:gd name="T49" fmla="*/ 446 h 3576"/>
                <a:gd name="T50" fmla="*/ 2372 w 4237"/>
                <a:gd name="T51" fmla="*/ 606 h 3576"/>
                <a:gd name="T52" fmla="*/ 2135 w 4237"/>
                <a:gd name="T53" fmla="*/ 724 h 3576"/>
                <a:gd name="T54" fmla="*/ 1996 w 4237"/>
                <a:gd name="T55" fmla="*/ 877 h 3576"/>
                <a:gd name="T56" fmla="*/ 1906 w 4237"/>
                <a:gd name="T57" fmla="*/ 954 h 3576"/>
                <a:gd name="T58" fmla="*/ 1747 w 4237"/>
                <a:gd name="T59" fmla="*/ 954 h 3576"/>
                <a:gd name="T60" fmla="*/ 1670 w 4237"/>
                <a:gd name="T61" fmla="*/ 905 h 3576"/>
                <a:gd name="T62" fmla="*/ 1601 w 4237"/>
                <a:gd name="T63" fmla="*/ 780 h 3576"/>
                <a:gd name="T64" fmla="*/ 1406 w 4237"/>
                <a:gd name="T65" fmla="*/ 773 h 3576"/>
                <a:gd name="T66" fmla="*/ 1378 w 4237"/>
                <a:gd name="T67" fmla="*/ 710 h 3576"/>
                <a:gd name="T68" fmla="*/ 1287 w 4237"/>
                <a:gd name="T69" fmla="*/ 557 h 3576"/>
                <a:gd name="T70" fmla="*/ 1253 w 4237"/>
                <a:gd name="T71" fmla="*/ 411 h 3576"/>
                <a:gd name="T72" fmla="*/ 1065 w 4237"/>
                <a:gd name="T73" fmla="*/ 390 h 3576"/>
                <a:gd name="T74" fmla="*/ 780 w 4237"/>
                <a:gd name="T75" fmla="*/ 293 h 3576"/>
                <a:gd name="T76" fmla="*/ 752 w 4237"/>
                <a:gd name="T77" fmla="*/ 21 h 3576"/>
                <a:gd name="T78" fmla="*/ 522 w 4237"/>
                <a:gd name="T79" fmla="*/ 49 h 3576"/>
                <a:gd name="T80" fmla="*/ 571 w 4237"/>
                <a:gd name="T81" fmla="*/ 286 h 3576"/>
                <a:gd name="T82" fmla="*/ 501 w 4237"/>
                <a:gd name="T83" fmla="*/ 439 h 3576"/>
                <a:gd name="T84" fmla="*/ 327 w 4237"/>
                <a:gd name="T85" fmla="*/ 592 h 3576"/>
                <a:gd name="T86" fmla="*/ 188 w 4237"/>
                <a:gd name="T87" fmla="*/ 703 h 3576"/>
                <a:gd name="T88" fmla="*/ 63 w 4237"/>
                <a:gd name="T89" fmla="*/ 877 h 3576"/>
                <a:gd name="T90" fmla="*/ 432 w 4237"/>
                <a:gd name="T91" fmla="*/ 1399 h 3576"/>
                <a:gd name="T92" fmla="*/ 766 w 4237"/>
                <a:gd name="T93" fmla="*/ 1754 h 3576"/>
                <a:gd name="T94" fmla="*/ 1114 w 4237"/>
                <a:gd name="T95" fmla="*/ 2004 h 3576"/>
                <a:gd name="T96" fmla="*/ 1280 w 4237"/>
                <a:gd name="T97" fmla="*/ 2394 h 3576"/>
                <a:gd name="T98" fmla="*/ 1587 w 4237"/>
                <a:gd name="T99" fmla="*/ 2588 h 3576"/>
                <a:gd name="T100" fmla="*/ 2163 w 4237"/>
                <a:gd name="T101" fmla="*/ 3138 h 3576"/>
                <a:gd name="T102" fmla="*/ 2699 w 4237"/>
                <a:gd name="T103" fmla="*/ 3540 h 3576"/>
                <a:gd name="T104" fmla="*/ 3325 w 4237"/>
                <a:gd name="T105" fmla="*/ 3506 h 3576"/>
                <a:gd name="T106" fmla="*/ 3485 w 4237"/>
                <a:gd name="T107" fmla="*/ 3533 h 3576"/>
                <a:gd name="T108" fmla="*/ 3874 w 4237"/>
                <a:gd name="T109" fmla="*/ 3492 h 3576"/>
                <a:gd name="T110" fmla="*/ 3958 w 4237"/>
                <a:gd name="T111" fmla="*/ 3394 h 3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37" h="3576">
                  <a:moveTo>
                    <a:pt x="3993" y="3284"/>
                  </a:moveTo>
                  <a:lnTo>
                    <a:pt x="3993" y="3242"/>
                  </a:lnTo>
                  <a:lnTo>
                    <a:pt x="3993" y="3208"/>
                  </a:lnTo>
                  <a:lnTo>
                    <a:pt x="4006" y="3180"/>
                  </a:lnTo>
                  <a:lnTo>
                    <a:pt x="3993" y="3166"/>
                  </a:lnTo>
                  <a:lnTo>
                    <a:pt x="3979" y="3145"/>
                  </a:lnTo>
                  <a:lnTo>
                    <a:pt x="3972" y="3131"/>
                  </a:lnTo>
                  <a:lnTo>
                    <a:pt x="3972" y="3117"/>
                  </a:lnTo>
                  <a:lnTo>
                    <a:pt x="4020" y="3096"/>
                  </a:lnTo>
                  <a:lnTo>
                    <a:pt x="4034" y="3096"/>
                  </a:lnTo>
                  <a:lnTo>
                    <a:pt x="4041" y="3096"/>
                  </a:lnTo>
                  <a:lnTo>
                    <a:pt x="4076" y="3068"/>
                  </a:lnTo>
                  <a:lnTo>
                    <a:pt x="4139" y="3013"/>
                  </a:lnTo>
                  <a:lnTo>
                    <a:pt x="4160" y="3013"/>
                  </a:lnTo>
                  <a:lnTo>
                    <a:pt x="4187" y="2971"/>
                  </a:lnTo>
                  <a:lnTo>
                    <a:pt x="4152" y="2950"/>
                  </a:lnTo>
                  <a:lnTo>
                    <a:pt x="4160" y="2943"/>
                  </a:lnTo>
                  <a:lnTo>
                    <a:pt x="4187" y="2908"/>
                  </a:lnTo>
                  <a:lnTo>
                    <a:pt x="4229" y="2887"/>
                  </a:lnTo>
                  <a:lnTo>
                    <a:pt x="4236" y="2881"/>
                  </a:lnTo>
                  <a:lnTo>
                    <a:pt x="4201" y="2846"/>
                  </a:lnTo>
                  <a:lnTo>
                    <a:pt x="4229" y="2839"/>
                  </a:lnTo>
                  <a:lnTo>
                    <a:pt x="4236" y="2811"/>
                  </a:lnTo>
                  <a:lnTo>
                    <a:pt x="4201" y="2783"/>
                  </a:lnTo>
                  <a:lnTo>
                    <a:pt x="4194" y="2755"/>
                  </a:lnTo>
                  <a:lnTo>
                    <a:pt x="4208" y="2741"/>
                  </a:lnTo>
                  <a:lnTo>
                    <a:pt x="4201" y="2679"/>
                  </a:lnTo>
                  <a:lnTo>
                    <a:pt x="4194" y="2672"/>
                  </a:lnTo>
                  <a:lnTo>
                    <a:pt x="4187" y="2637"/>
                  </a:lnTo>
                  <a:lnTo>
                    <a:pt x="4173" y="2595"/>
                  </a:lnTo>
                  <a:lnTo>
                    <a:pt x="4160" y="2574"/>
                  </a:lnTo>
                  <a:lnTo>
                    <a:pt x="4097" y="2519"/>
                  </a:lnTo>
                  <a:lnTo>
                    <a:pt x="4076" y="2484"/>
                  </a:lnTo>
                  <a:lnTo>
                    <a:pt x="4069" y="2463"/>
                  </a:lnTo>
                  <a:lnTo>
                    <a:pt x="4041" y="2456"/>
                  </a:lnTo>
                  <a:lnTo>
                    <a:pt x="4027" y="2442"/>
                  </a:lnTo>
                  <a:lnTo>
                    <a:pt x="4027" y="2421"/>
                  </a:lnTo>
                  <a:lnTo>
                    <a:pt x="4020" y="2414"/>
                  </a:lnTo>
                  <a:lnTo>
                    <a:pt x="4006" y="2421"/>
                  </a:lnTo>
                  <a:lnTo>
                    <a:pt x="3965" y="2428"/>
                  </a:lnTo>
                  <a:lnTo>
                    <a:pt x="3902" y="2408"/>
                  </a:lnTo>
                  <a:lnTo>
                    <a:pt x="3895" y="2380"/>
                  </a:lnTo>
                  <a:lnTo>
                    <a:pt x="3846" y="2408"/>
                  </a:lnTo>
                  <a:lnTo>
                    <a:pt x="3826" y="2387"/>
                  </a:lnTo>
                  <a:lnTo>
                    <a:pt x="3805" y="2366"/>
                  </a:lnTo>
                  <a:lnTo>
                    <a:pt x="3791" y="2359"/>
                  </a:lnTo>
                  <a:lnTo>
                    <a:pt x="3777" y="2331"/>
                  </a:lnTo>
                  <a:lnTo>
                    <a:pt x="3749" y="2282"/>
                  </a:lnTo>
                  <a:lnTo>
                    <a:pt x="3714" y="2310"/>
                  </a:lnTo>
                  <a:lnTo>
                    <a:pt x="3679" y="2289"/>
                  </a:lnTo>
                  <a:lnTo>
                    <a:pt x="3638" y="2254"/>
                  </a:lnTo>
                  <a:lnTo>
                    <a:pt x="3603" y="2268"/>
                  </a:lnTo>
                  <a:lnTo>
                    <a:pt x="3610" y="2296"/>
                  </a:lnTo>
                  <a:lnTo>
                    <a:pt x="3561" y="2324"/>
                  </a:lnTo>
                  <a:lnTo>
                    <a:pt x="3512" y="2352"/>
                  </a:lnTo>
                  <a:lnTo>
                    <a:pt x="3499" y="2380"/>
                  </a:lnTo>
                  <a:lnTo>
                    <a:pt x="3408" y="2331"/>
                  </a:lnTo>
                  <a:lnTo>
                    <a:pt x="3408" y="2324"/>
                  </a:lnTo>
                  <a:lnTo>
                    <a:pt x="3380" y="2282"/>
                  </a:lnTo>
                  <a:lnTo>
                    <a:pt x="3366" y="2268"/>
                  </a:lnTo>
                  <a:lnTo>
                    <a:pt x="3353" y="2268"/>
                  </a:lnTo>
                  <a:lnTo>
                    <a:pt x="3346" y="2268"/>
                  </a:lnTo>
                  <a:lnTo>
                    <a:pt x="3290" y="2227"/>
                  </a:lnTo>
                  <a:lnTo>
                    <a:pt x="3234" y="2199"/>
                  </a:lnTo>
                  <a:lnTo>
                    <a:pt x="3206" y="2199"/>
                  </a:lnTo>
                  <a:lnTo>
                    <a:pt x="3193" y="2234"/>
                  </a:lnTo>
                  <a:lnTo>
                    <a:pt x="3179" y="2234"/>
                  </a:lnTo>
                  <a:lnTo>
                    <a:pt x="3158" y="2220"/>
                  </a:lnTo>
                  <a:lnTo>
                    <a:pt x="3151" y="2192"/>
                  </a:lnTo>
                  <a:lnTo>
                    <a:pt x="3151" y="2136"/>
                  </a:lnTo>
                  <a:lnTo>
                    <a:pt x="3144" y="2122"/>
                  </a:lnTo>
                  <a:lnTo>
                    <a:pt x="3179" y="2053"/>
                  </a:lnTo>
                  <a:lnTo>
                    <a:pt x="3172" y="2032"/>
                  </a:lnTo>
                  <a:lnTo>
                    <a:pt x="3137" y="1997"/>
                  </a:lnTo>
                  <a:lnTo>
                    <a:pt x="3123" y="2004"/>
                  </a:lnTo>
                  <a:lnTo>
                    <a:pt x="3081" y="1962"/>
                  </a:lnTo>
                  <a:lnTo>
                    <a:pt x="3047" y="1948"/>
                  </a:lnTo>
                  <a:lnTo>
                    <a:pt x="3039" y="1955"/>
                  </a:lnTo>
                  <a:lnTo>
                    <a:pt x="3019" y="1934"/>
                  </a:lnTo>
                  <a:lnTo>
                    <a:pt x="2942" y="1893"/>
                  </a:lnTo>
                  <a:lnTo>
                    <a:pt x="2880" y="1865"/>
                  </a:lnTo>
                  <a:lnTo>
                    <a:pt x="2720" y="1774"/>
                  </a:lnTo>
                  <a:lnTo>
                    <a:pt x="2720" y="1809"/>
                  </a:lnTo>
                  <a:lnTo>
                    <a:pt x="2699" y="1823"/>
                  </a:lnTo>
                  <a:lnTo>
                    <a:pt x="2685" y="1823"/>
                  </a:lnTo>
                  <a:lnTo>
                    <a:pt x="2629" y="1788"/>
                  </a:lnTo>
                  <a:lnTo>
                    <a:pt x="2629" y="1774"/>
                  </a:lnTo>
                  <a:lnTo>
                    <a:pt x="2594" y="1733"/>
                  </a:lnTo>
                  <a:lnTo>
                    <a:pt x="2587" y="1698"/>
                  </a:lnTo>
                  <a:lnTo>
                    <a:pt x="2587" y="1663"/>
                  </a:lnTo>
                  <a:lnTo>
                    <a:pt x="2587" y="1635"/>
                  </a:lnTo>
                  <a:lnTo>
                    <a:pt x="2594" y="1628"/>
                  </a:lnTo>
                  <a:lnTo>
                    <a:pt x="2601" y="1580"/>
                  </a:lnTo>
                  <a:lnTo>
                    <a:pt x="2601" y="1573"/>
                  </a:lnTo>
                  <a:lnTo>
                    <a:pt x="2622" y="1580"/>
                  </a:lnTo>
                  <a:lnTo>
                    <a:pt x="2678" y="1538"/>
                  </a:lnTo>
                  <a:lnTo>
                    <a:pt x="2699" y="1475"/>
                  </a:lnTo>
                  <a:lnTo>
                    <a:pt x="2692" y="1447"/>
                  </a:lnTo>
                  <a:lnTo>
                    <a:pt x="2761" y="1461"/>
                  </a:lnTo>
                  <a:lnTo>
                    <a:pt x="2831" y="1510"/>
                  </a:lnTo>
                  <a:lnTo>
                    <a:pt x="2852" y="1496"/>
                  </a:lnTo>
                  <a:lnTo>
                    <a:pt x="2921" y="1538"/>
                  </a:lnTo>
                  <a:lnTo>
                    <a:pt x="2942" y="1559"/>
                  </a:lnTo>
                  <a:lnTo>
                    <a:pt x="2956" y="1566"/>
                  </a:lnTo>
                  <a:lnTo>
                    <a:pt x="3005" y="1538"/>
                  </a:lnTo>
                  <a:lnTo>
                    <a:pt x="3019" y="1559"/>
                  </a:lnTo>
                  <a:lnTo>
                    <a:pt x="3047" y="1559"/>
                  </a:lnTo>
                  <a:lnTo>
                    <a:pt x="3088" y="1503"/>
                  </a:lnTo>
                  <a:lnTo>
                    <a:pt x="3081" y="1489"/>
                  </a:lnTo>
                  <a:lnTo>
                    <a:pt x="3137" y="1475"/>
                  </a:lnTo>
                  <a:lnTo>
                    <a:pt x="3116" y="1461"/>
                  </a:lnTo>
                  <a:lnTo>
                    <a:pt x="3172" y="1447"/>
                  </a:lnTo>
                  <a:lnTo>
                    <a:pt x="3151" y="1434"/>
                  </a:lnTo>
                  <a:lnTo>
                    <a:pt x="3095" y="1378"/>
                  </a:lnTo>
                  <a:lnTo>
                    <a:pt x="3109" y="1364"/>
                  </a:lnTo>
                  <a:lnTo>
                    <a:pt x="3095" y="1350"/>
                  </a:lnTo>
                  <a:lnTo>
                    <a:pt x="3047" y="1336"/>
                  </a:lnTo>
                  <a:lnTo>
                    <a:pt x="3005" y="1294"/>
                  </a:lnTo>
                  <a:lnTo>
                    <a:pt x="2949" y="1246"/>
                  </a:lnTo>
                  <a:lnTo>
                    <a:pt x="2942" y="1232"/>
                  </a:lnTo>
                  <a:lnTo>
                    <a:pt x="2928" y="1134"/>
                  </a:lnTo>
                  <a:lnTo>
                    <a:pt x="2880" y="1107"/>
                  </a:lnTo>
                  <a:lnTo>
                    <a:pt x="2845" y="1086"/>
                  </a:lnTo>
                  <a:lnTo>
                    <a:pt x="2831" y="1079"/>
                  </a:lnTo>
                  <a:lnTo>
                    <a:pt x="2796" y="1051"/>
                  </a:lnTo>
                  <a:lnTo>
                    <a:pt x="2852" y="1009"/>
                  </a:lnTo>
                  <a:lnTo>
                    <a:pt x="2866" y="974"/>
                  </a:lnTo>
                  <a:lnTo>
                    <a:pt x="2859" y="954"/>
                  </a:lnTo>
                  <a:lnTo>
                    <a:pt x="2824" y="947"/>
                  </a:lnTo>
                  <a:lnTo>
                    <a:pt x="2747" y="870"/>
                  </a:lnTo>
                  <a:lnTo>
                    <a:pt x="2782" y="821"/>
                  </a:lnTo>
                  <a:lnTo>
                    <a:pt x="2810" y="821"/>
                  </a:lnTo>
                  <a:lnTo>
                    <a:pt x="2845" y="787"/>
                  </a:lnTo>
                  <a:lnTo>
                    <a:pt x="2831" y="780"/>
                  </a:lnTo>
                  <a:lnTo>
                    <a:pt x="2845" y="724"/>
                  </a:lnTo>
                  <a:lnTo>
                    <a:pt x="2824" y="710"/>
                  </a:lnTo>
                  <a:lnTo>
                    <a:pt x="2817" y="682"/>
                  </a:lnTo>
                  <a:lnTo>
                    <a:pt x="2810" y="655"/>
                  </a:lnTo>
                  <a:lnTo>
                    <a:pt x="2824" y="668"/>
                  </a:lnTo>
                  <a:lnTo>
                    <a:pt x="2831" y="648"/>
                  </a:lnTo>
                  <a:lnTo>
                    <a:pt x="2845" y="592"/>
                  </a:lnTo>
                  <a:lnTo>
                    <a:pt x="2866" y="578"/>
                  </a:lnTo>
                  <a:lnTo>
                    <a:pt x="2866" y="550"/>
                  </a:lnTo>
                  <a:lnTo>
                    <a:pt x="2928" y="571"/>
                  </a:lnTo>
                  <a:lnTo>
                    <a:pt x="2963" y="578"/>
                  </a:lnTo>
                  <a:lnTo>
                    <a:pt x="3012" y="557"/>
                  </a:lnTo>
                  <a:lnTo>
                    <a:pt x="3039" y="585"/>
                  </a:lnTo>
                  <a:lnTo>
                    <a:pt x="3095" y="571"/>
                  </a:lnTo>
                  <a:lnTo>
                    <a:pt x="3137" y="578"/>
                  </a:lnTo>
                  <a:lnTo>
                    <a:pt x="3186" y="550"/>
                  </a:lnTo>
                  <a:lnTo>
                    <a:pt x="3193" y="543"/>
                  </a:lnTo>
                  <a:lnTo>
                    <a:pt x="3206" y="481"/>
                  </a:lnTo>
                  <a:lnTo>
                    <a:pt x="3220" y="439"/>
                  </a:lnTo>
                  <a:lnTo>
                    <a:pt x="3220" y="425"/>
                  </a:lnTo>
                  <a:lnTo>
                    <a:pt x="3172" y="411"/>
                  </a:lnTo>
                  <a:lnTo>
                    <a:pt x="3172" y="418"/>
                  </a:lnTo>
                  <a:lnTo>
                    <a:pt x="3123" y="376"/>
                  </a:lnTo>
                  <a:lnTo>
                    <a:pt x="3123" y="348"/>
                  </a:lnTo>
                  <a:lnTo>
                    <a:pt x="3137" y="321"/>
                  </a:lnTo>
                  <a:lnTo>
                    <a:pt x="3095" y="286"/>
                  </a:lnTo>
                  <a:lnTo>
                    <a:pt x="3039" y="244"/>
                  </a:lnTo>
                  <a:lnTo>
                    <a:pt x="3019" y="216"/>
                  </a:lnTo>
                  <a:lnTo>
                    <a:pt x="2991" y="216"/>
                  </a:lnTo>
                  <a:lnTo>
                    <a:pt x="2963" y="258"/>
                  </a:lnTo>
                  <a:lnTo>
                    <a:pt x="2859" y="230"/>
                  </a:lnTo>
                  <a:lnTo>
                    <a:pt x="2866" y="279"/>
                  </a:lnTo>
                  <a:lnTo>
                    <a:pt x="2831" y="327"/>
                  </a:lnTo>
                  <a:lnTo>
                    <a:pt x="2852" y="348"/>
                  </a:lnTo>
                  <a:lnTo>
                    <a:pt x="2817" y="397"/>
                  </a:lnTo>
                  <a:lnTo>
                    <a:pt x="2789" y="418"/>
                  </a:lnTo>
                  <a:lnTo>
                    <a:pt x="2761" y="390"/>
                  </a:lnTo>
                  <a:lnTo>
                    <a:pt x="2720" y="446"/>
                  </a:lnTo>
                  <a:lnTo>
                    <a:pt x="2650" y="474"/>
                  </a:lnTo>
                  <a:lnTo>
                    <a:pt x="2615" y="460"/>
                  </a:lnTo>
                  <a:lnTo>
                    <a:pt x="2601" y="446"/>
                  </a:lnTo>
                  <a:lnTo>
                    <a:pt x="2587" y="446"/>
                  </a:lnTo>
                  <a:lnTo>
                    <a:pt x="2580" y="481"/>
                  </a:lnTo>
                  <a:lnTo>
                    <a:pt x="2469" y="481"/>
                  </a:lnTo>
                  <a:lnTo>
                    <a:pt x="2427" y="515"/>
                  </a:lnTo>
                  <a:lnTo>
                    <a:pt x="2372" y="488"/>
                  </a:lnTo>
                  <a:lnTo>
                    <a:pt x="2351" y="508"/>
                  </a:lnTo>
                  <a:lnTo>
                    <a:pt x="2372" y="606"/>
                  </a:lnTo>
                  <a:lnTo>
                    <a:pt x="2337" y="613"/>
                  </a:lnTo>
                  <a:lnTo>
                    <a:pt x="2323" y="620"/>
                  </a:lnTo>
                  <a:lnTo>
                    <a:pt x="2253" y="675"/>
                  </a:lnTo>
                  <a:lnTo>
                    <a:pt x="2198" y="675"/>
                  </a:lnTo>
                  <a:lnTo>
                    <a:pt x="2177" y="675"/>
                  </a:lnTo>
                  <a:lnTo>
                    <a:pt x="2177" y="717"/>
                  </a:lnTo>
                  <a:lnTo>
                    <a:pt x="2135" y="724"/>
                  </a:lnTo>
                  <a:lnTo>
                    <a:pt x="2128" y="724"/>
                  </a:lnTo>
                  <a:lnTo>
                    <a:pt x="2073" y="745"/>
                  </a:lnTo>
                  <a:lnTo>
                    <a:pt x="2128" y="807"/>
                  </a:lnTo>
                  <a:lnTo>
                    <a:pt x="2100" y="835"/>
                  </a:lnTo>
                  <a:lnTo>
                    <a:pt x="2073" y="821"/>
                  </a:lnTo>
                  <a:lnTo>
                    <a:pt x="2059" y="842"/>
                  </a:lnTo>
                  <a:lnTo>
                    <a:pt x="1996" y="877"/>
                  </a:lnTo>
                  <a:lnTo>
                    <a:pt x="1975" y="856"/>
                  </a:lnTo>
                  <a:lnTo>
                    <a:pt x="1961" y="815"/>
                  </a:lnTo>
                  <a:lnTo>
                    <a:pt x="1913" y="821"/>
                  </a:lnTo>
                  <a:lnTo>
                    <a:pt x="1926" y="849"/>
                  </a:lnTo>
                  <a:lnTo>
                    <a:pt x="1906" y="905"/>
                  </a:lnTo>
                  <a:lnTo>
                    <a:pt x="1913" y="933"/>
                  </a:lnTo>
                  <a:lnTo>
                    <a:pt x="1906" y="954"/>
                  </a:lnTo>
                  <a:lnTo>
                    <a:pt x="1899" y="954"/>
                  </a:lnTo>
                  <a:lnTo>
                    <a:pt x="1850" y="982"/>
                  </a:lnTo>
                  <a:lnTo>
                    <a:pt x="1809" y="1002"/>
                  </a:lnTo>
                  <a:lnTo>
                    <a:pt x="1768" y="1044"/>
                  </a:lnTo>
                  <a:lnTo>
                    <a:pt x="1760" y="1037"/>
                  </a:lnTo>
                  <a:lnTo>
                    <a:pt x="1747" y="982"/>
                  </a:lnTo>
                  <a:lnTo>
                    <a:pt x="1747" y="954"/>
                  </a:lnTo>
                  <a:lnTo>
                    <a:pt x="1712" y="967"/>
                  </a:lnTo>
                  <a:lnTo>
                    <a:pt x="1698" y="954"/>
                  </a:lnTo>
                  <a:lnTo>
                    <a:pt x="1670" y="974"/>
                  </a:lnTo>
                  <a:lnTo>
                    <a:pt x="1670" y="967"/>
                  </a:lnTo>
                  <a:lnTo>
                    <a:pt x="1635" y="967"/>
                  </a:lnTo>
                  <a:lnTo>
                    <a:pt x="1663" y="947"/>
                  </a:lnTo>
                  <a:lnTo>
                    <a:pt x="1670" y="905"/>
                  </a:lnTo>
                  <a:lnTo>
                    <a:pt x="1649" y="905"/>
                  </a:lnTo>
                  <a:lnTo>
                    <a:pt x="1587" y="912"/>
                  </a:lnTo>
                  <a:lnTo>
                    <a:pt x="1580" y="842"/>
                  </a:lnTo>
                  <a:lnTo>
                    <a:pt x="1607" y="835"/>
                  </a:lnTo>
                  <a:lnTo>
                    <a:pt x="1601" y="815"/>
                  </a:lnTo>
                  <a:lnTo>
                    <a:pt x="1580" y="807"/>
                  </a:lnTo>
                  <a:lnTo>
                    <a:pt x="1601" y="780"/>
                  </a:lnTo>
                  <a:lnTo>
                    <a:pt x="1587" y="759"/>
                  </a:lnTo>
                  <a:lnTo>
                    <a:pt x="1545" y="745"/>
                  </a:lnTo>
                  <a:lnTo>
                    <a:pt x="1545" y="759"/>
                  </a:lnTo>
                  <a:lnTo>
                    <a:pt x="1482" y="801"/>
                  </a:lnTo>
                  <a:lnTo>
                    <a:pt x="1454" y="759"/>
                  </a:lnTo>
                  <a:lnTo>
                    <a:pt x="1447" y="759"/>
                  </a:lnTo>
                  <a:lnTo>
                    <a:pt x="1406" y="773"/>
                  </a:lnTo>
                  <a:lnTo>
                    <a:pt x="1392" y="773"/>
                  </a:lnTo>
                  <a:lnTo>
                    <a:pt x="1378" y="752"/>
                  </a:lnTo>
                  <a:lnTo>
                    <a:pt x="1413" y="752"/>
                  </a:lnTo>
                  <a:lnTo>
                    <a:pt x="1392" y="738"/>
                  </a:lnTo>
                  <a:lnTo>
                    <a:pt x="1378" y="724"/>
                  </a:lnTo>
                  <a:lnTo>
                    <a:pt x="1357" y="717"/>
                  </a:lnTo>
                  <a:lnTo>
                    <a:pt x="1378" y="710"/>
                  </a:lnTo>
                  <a:lnTo>
                    <a:pt x="1357" y="689"/>
                  </a:lnTo>
                  <a:lnTo>
                    <a:pt x="1343" y="668"/>
                  </a:lnTo>
                  <a:lnTo>
                    <a:pt x="1357" y="648"/>
                  </a:lnTo>
                  <a:lnTo>
                    <a:pt x="1357" y="613"/>
                  </a:lnTo>
                  <a:lnTo>
                    <a:pt x="1343" y="613"/>
                  </a:lnTo>
                  <a:lnTo>
                    <a:pt x="1308" y="592"/>
                  </a:lnTo>
                  <a:lnTo>
                    <a:pt x="1287" y="557"/>
                  </a:lnTo>
                  <a:lnTo>
                    <a:pt x="1308" y="529"/>
                  </a:lnTo>
                  <a:lnTo>
                    <a:pt x="1294" y="508"/>
                  </a:lnTo>
                  <a:lnTo>
                    <a:pt x="1287" y="488"/>
                  </a:lnTo>
                  <a:lnTo>
                    <a:pt x="1294" y="474"/>
                  </a:lnTo>
                  <a:lnTo>
                    <a:pt x="1308" y="460"/>
                  </a:lnTo>
                  <a:lnTo>
                    <a:pt x="1274" y="446"/>
                  </a:lnTo>
                  <a:lnTo>
                    <a:pt x="1253" y="411"/>
                  </a:lnTo>
                  <a:lnTo>
                    <a:pt x="1225" y="383"/>
                  </a:lnTo>
                  <a:lnTo>
                    <a:pt x="1162" y="355"/>
                  </a:lnTo>
                  <a:lnTo>
                    <a:pt x="1141" y="397"/>
                  </a:lnTo>
                  <a:lnTo>
                    <a:pt x="1120" y="390"/>
                  </a:lnTo>
                  <a:lnTo>
                    <a:pt x="1114" y="411"/>
                  </a:lnTo>
                  <a:lnTo>
                    <a:pt x="1079" y="383"/>
                  </a:lnTo>
                  <a:lnTo>
                    <a:pt x="1065" y="390"/>
                  </a:lnTo>
                  <a:lnTo>
                    <a:pt x="1030" y="397"/>
                  </a:lnTo>
                  <a:lnTo>
                    <a:pt x="988" y="418"/>
                  </a:lnTo>
                  <a:lnTo>
                    <a:pt x="953" y="425"/>
                  </a:lnTo>
                  <a:lnTo>
                    <a:pt x="919" y="383"/>
                  </a:lnTo>
                  <a:lnTo>
                    <a:pt x="814" y="342"/>
                  </a:lnTo>
                  <a:lnTo>
                    <a:pt x="821" y="314"/>
                  </a:lnTo>
                  <a:lnTo>
                    <a:pt x="780" y="293"/>
                  </a:lnTo>
                  <a:lnTo>
                    <a:pt x="814" y="251"/>
                  </a:lnTo>
                  <a:lnTo>
                    <a:pt x="835" y="244"/>
                  </a:lnTo>
                  <a:lnTo>
                    <a:pt x="856" y="223"/>
                  </a:lnTo>
                  <a:lnTo>
                    <a:pt x="877" y="181"/>
                  </a:lnTo>
                  <a:lnTo>
                    <a:pt x="877" y="167"/>
                  </a:lnTo>
                  <a:lnTo>
                    <a:pt x="793" y="133"/>
                  </a:lnTo>
                  <a:lnTo>
                    <a:pt x="752" y="21"/>
                  </a:lnTo>
                  <a:lnTo>
                    <a:pt x="731" y="15"/>
                  </a:lnTo>
                  <a:lnTo>
                    <a:pt x="661" y="0"/>
                  </a:lnTo>
                  <a:lnTo>
                    <a:pt x="606" y="28"/>
                  </a:lnTo>
                  <a:lnTo>
                    <a:pt x="592" y="70"/>
                  </a:lnTo>
                  <a:lnTo>
                    <a:pt x="585" y="98"/>
                  </a:lnTo>
                  <a:lnTo>
                    <a:pt x="536" y="35"/>
                  </a:lnTo>
                  <a:lnTo>
                    <a:pt x="522" y="49"/>
                  </a:lnTo>
                  <a:lnTo>
                    <a:pt x="487" y="119"/>
                  </a:lnTo>
                  <a:lnTo>
                    <a:pt x="515" y="133"/>
                  </a:lnTo>
                  <a:lnTo>
                    <a:pt x="550" y="161"/>
                  </a:lnTo>
                  <a:lnTo>
                    <a:pt x="550" y="181"/>
                  </a:lnTo>
                  <a:lnTo>
                    <a:pt x="606" y="209"/>
                  </a:lnTo>
                  <a:lnTo>
                    <a:pt x="592" y="230"/>
                  </a:lnTo>
                  <a:lnTo>
                    <a:pt x="571" y="286"/>
                  </a:lnTo>
                  <a:lnTo>
                    <a:pt x="536" y="286"/>
                  </a:lnTo>
                  <a:lnTo>
                    <a:pt x="550" y="355"/>
                  </a:lnTo>
                  <a:lnTo>
                    <a:pt x="585" y="376"/>
                  </a:lnTo>
                  <a:lnTo>
                    <a:pt x="585" y="425"/>
                  </a:lnTo>
                  <a:lnTo>
                    <a:pt x="571" y="439"/>
                  </a:lnTo>
                  <a:lnTo>
                    <a:pt x="550" y="453"/>
                  </a:lnTo>
                  <a:lnTo>
                    <a:pt x="501" y="439"/>
                  </a:lnTo>
                  <a:lnTo>
                    <a:pt x="494" y="453"/>
                  </a:lnTo>
                  <a:lnTo>
                    <a:pt x="467" y="508"/>
                  </a:lnTo>
                  <a:lnTo>
                    <a:pt x="432" y="508"/>
                  </a:lnTo>
                  <a:lnTo>
                    <a:pt x="376" y="529"/>
                  </a:lnTo>
                  <a:lnTo>
                    <a:pt x="390" y="550"/>
                  </a:lnTo>
                  <a:lnTo>
                    <a:pt x="355" y="578"/>
                  </a:lnTo>
                  <a:lnTo>
                    <a:pt x="327" y="592"/>
                  </a:lnTo>
                  <a:lnTo>
                    <a:pt x="300" y="592"/>
                  </a:lnTo>
                  <a:lnTo>
                    <a:pt x="272" y="613"/>
                  </a:lnTo>
                  <a:lnTo>
                    <a:pt x="244" y="592"/>
                  </a:lnTo>
                  <a:lnTo>
                    <a:pt x="209" y="606"/>
                  </a:lnTo>
                  <a:lnTo>
                    <a:pt x="223" y="640"/>
                  </a:lnTo>
                  <a:lnTo>
                    <a:pt x="223" y="648"/>
                  </a:lnTo>
                  <a:lnTo>
                    <a:pt x="188" y="703"/>
                  </a:lnTo>
                  <a:lnTo>
                    <a:pt x="202" y="717"/>
                  </a:lnTo>
                  <a:lnTo>
                    <a:pt x="223" y="745"/>
                  </a:lnTo>
                  <a:lnTo>
                    <a:pt x="272" y="773"/>
                  </a:lnTo>
                  <a:lnTo>
                    <a:pt x="272" y="884"/>
                  </a:lnTo>
                  <a:lnTo>
                    <a:pt x="161" y="877"/>
                  </a:lnTo>
                  <a:lnTo>
                    <a:pt x="112" y="884"/>
                  </a:lnTo>
                  <a:lnTo>
                    <a:pt x="63" y="877"/>
                  </a:lnTo>
                  <a:lnTo>
                    <a:pt x="49" y="912"/>
                  </a:lnTo>
                  <a:lnTo>
                    <a:pt x="7" y="954"/>
                  </a:lnTo>
                  <a:lnTo>
                    <a:pt x="0" y="1009"/>
                  </a:lnTo>
                  <a:lnTo>
                    <a:pt x="202" y="1128"/>
                  </a:lnTo>
                  <a:lnTo>
                    <a:pt x="300" y="1197"/>
                  </a:lnTo>
                  <a:lnTo>
                    <a:pt x="397" y="1315"/>
                  </a:lnTo>
                  <a:lnTo>
                    <a:pt x="432" y="1399"/>
                  </a:lnTo>
                  <a:lnTo>
                    <a:pt x="473" y="1461"/>
                  </a:lnTo>
                  <a:lnTo>
                    <a:pt x="467" y="1496"/>
                  </a:lnTo>
                  <a:lnTo>
                    <a:pt x="536" y="1607"/>
                  </a:lnTo>
                  <a:lnTo>
                    <a:pt x="599" y="1705"/>
                  </a:lnTo>
                  <a:lnTo>
                    <a:pt x="599" y="1719"/>
                  </a:lnTo>
                  <a:lnTo>
                    <a:pt x="647" y="1774"/>
                  </a:lnTo>
                  <a:lnTo>
                    <a:pt x="766" y="1754"/>
                  </a:lnTo>
                  <a:lnTo>
                    <a:pt x="849" y="1809"/>
                  </a:lnTo>
                  <a:lnTo>
                    <a:pt x="877" y="1851"/>
                  </a:lnTo>
                  <a:lnTo>
                    <a:pt x="919" y="1858"/>
                  </a:lnTo>
                  <a:lnTo>
                    <a:pt x="961" y="1893"/>
                  </a:lnTo>
                  <a:lnTo>
                    <a:pt x="981" y="1934"/>
                  </a:lnTo>
                  <a:lnTo>
                    <a:pt x="1009" y="1948"/>
                  </a:lnTo>
                  <a:lnTo>
                    <a:pt x="1114" y="2004"/>
                  </a:lnTo>
                  <a:lnTo>
                    <a:pt x="1141" y="2025"/>
                  </a:lnTo>
                  <a:lnTo>
                    <a:pt x="1162" y="2067"/>
                  </a:lnTo>
                  <a:lnTo>
                    <a:pt x="1204" y="2122"/>
                  </a:lnTo>
                  <a:lnTo>
                    <a:pt x="1246" y="2227"/>
                  </a:lnTo>
                  <a:lnTo>
                    <a:pt x="1274" y="2317"/>
                  </a:lnTo>
                  <a:lnTo>
                    <a:pt x="1260" y="2345"/>
                  </a:lnTo>
                  <a:lnTo>
                    <a:pt x="1280" y="2394"/>
                  </a:lnTo>
                  <a:lnTo>
                    <a:pt x="1274" y="2394"/>
                  </a:lnTo>
                  <a:lnTo>
                    <a:pt x="1287" y="2408"/>
                  </a:lnTo>
                  <a:lnTo>
                    <a:pt x="1308" y="2414"/>
                  </a:lnTo>
                  <a:lnTo>
                    <a:pt x="1378" y="2442"/>
                  </a:lnTo>
                  <a:lnTo>
                    <a:pt x="1441" y="2477"/>
                  </a:lnTo>
                  <a:lnTo>
                    <a:pt x="1510" y="2519"/>
                  </a:lnTo>
                  <a:lnTo>
                    <a:pt x="1587" y="2588"/>
                  </a:lnTo>
                  <a:lnTo>
                    <a:pt x="1705" y="2721"/>
                  </a:lnTo>
                  <a:lnTo>
                    <a:pt x="1809" y="2867"/>
                  </a:lnTo>
                  <a:lnTo>
                    <a:pt x="1933" y="3054"/>
                  </a:lnTo>
                  <a:lnTo>
                    <a:pt x="1940" y="3054"/>
                  </a:lnTo>
                  <a:lnTo>
                    <a:pt x="1947" y="3041"/>
                  </a:lnTo>
                  <a:lnTo>
                    <a:pt x="2010" y="3033"/>
                  </a:lnTo>
                  <a:lnTo>
                    <a:pt x="2163" y="3138"/>
                  </a:lnTo>
                  <a:lnTo>
                    <a:pt x="2177" y="3117"/>
                  </a:lnTo>
                  <a:lnTo>
                    <a:pt x="2309" y="3131"/>
                  </a:lnTo>
                  <a:lnTo>
                    <a:pt x="2407" y="3187"/>
                  </a:lnTo>
                  <a:lnTo>
                    <a:pt x="2518" y="3298"/>
                  </a:lnTo>
                  <a:lnTo>
                    <a:pt x="2601" y="3492"/>
                  </a:lnTo>
                  <a:lnTo>
                    <a:pt x="2629" y="3533"/>
                  </a:lnTo>
                  <a:lnTo>
                    <a:pt x="2699" y="3540"/>
                  </a:lnTo>
                  <a:lnTo>
                    <a:pt x="2775" y="3464"/>
                  </a:lnTo>
                  <a:lnTo>
                    <a:pt x="2886" y="3408"/>
                  </a:lnTo>
                  <a:lnTo>
                    <a:pt x="2977" y="3401"/>
                  </a:lnTo>
                  <a:lnTo>
                    <a:pt x="3012" y="3375"/>
                  </a:lnTo>
                  <a:lnTo>
                    <a:pt x="3172" y="3408"/>
                  </a:lnTo>
                  <a:lnTo>
                    <a:pt x="3214" y="3436"/>
                  </a:lnTo>
                  <a:lnTo>
                    <a:pt x="3325" y="3506"/>
                  </a:lnTo>
                  <a:lnTo>
                    <a:pt x="3346" y="3506"/>
                  </a:lnTo>
                  <a:lnTo>
                    <a:pt x="3380" y="3533"/>
                  </a:lnTo>
                  <a:lnTo>
                    <a:pt x="3387" y="3540"/>
                  </a:lnTo>
                  <a:lnTo>
                    <a:pt x="3443" y="3561"/>
                  </a:lnTo>
                  <a:lnTo>
                    <a:pt x="3485" y="3575"/>
                  </a:lnTo>
                  <a:lnTo>
                    <a:pt x="3520" y="3575"/>
                  </a:lnTo>
                  <a:lnTo>
                    <a:pt x="3485" y="3533"/>
                  </a:lnTo>
                  <a:lnTo>
                    <a:pt x="3506" y="3492"/>
                  </a:lnTo>
                  <a:lnTo>
                    <a:pt x="3582" y="3457"/>
                  </a:lnTo>
                  <a:lnTo>
                    <a:pt x="3679" y="3492"/>
                  </a:lnTo>
                  <a:lnTo>
                    <a:pt x="3714" y="3471"/>
                  </a:lnTo>
                  <a:lnTo>
                    <a:pt x="3805" y="3540"/>
                  </a:lnTo>
                  <a:lnTo>
                    <a:pt x="3826" y="3499"/>
                  </a:lnTo>
                  <a:lnTo>
                    <a:pt x="3874" y="3492"/>
                  </a:lnTo>
                  <a:lnTo>
                    <a:pt x="3902" y="3492"/>
                  </a:lnTo>
                  <a:lnTo>
                    <a:pt x="3923" y="3471"/>
                  </a:lnTo>
                  <a:lnTo>
                    <a:pt x="3923" y="3457"/>
                  </a:lnTo>
                  <a:lnTo>
                    <a:pt x="3937" y="3457"/>
                  </a:lnTo>
                  <a:lnTo>
                    <a:pt x="3909" y="3436"/>
                  </a:lnTo>
                  <a:lnTo>
                    <a:pt x="3909" y="3408"/>
                  </a:lnTo>
                  <a:lnTo>
                    <a:pt x="3958" y="3394"/>
                  </a:lnTo>
                  <a:lnTo>
                    <a:pt x="3972" y="3394"/>
                  </a:lnTo>
                  <a:lnTo>
                    <a:pt x="4020" y="3375"/>
                  </a:lnTo>
                  <a:lnTo>
                    <a:pt x="4020" y="3333"/>
                  </a:lnTo>
                  <a:lnTo>
                    <a:pt x="3993" y="328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6" name="Freeform 65"/>
            <p:cNvSpPr>
              <a:spLocks noChangeArrowheads="1"/>
            </p:cNvSpPr>
            <p:nvPr/>
          </p:nvSpPr>
          <p:spPr bwMode="auto">
            <a:xfrm>
              <a:off x="17553844" y="7869456"/>
              <a:ext cx="14497" cy="6213"/>
            </a:xfrm>
            <a:custGeom>
              <a:avLst/>
              <a:gdLst>
                <a:gd name="T0" fmla="*/ 28 w 29"/>
                <a:gd name="T1" fmla="*/ 14 h 15"/>
                <a:gd name="T2" fmla="*/ 0 w 29"/>
                <a:gd name="T3" fmla="*/ 7 h 15"/>
                <a:gd name="T4" fmla="*/ 14 w 29"/>
                <a:gd name="T5" fmla="*/ 0 h 15"/>
                <a:gd name="T6" fmla="*/ 28 w 29"/>
                <a:gd name="T7" fmla="*/ 0 h 15"/>
                <a:gd name="T8" fmla="*/ 28 w 29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14"/>
                  </a:moveTo>
                  <a:lnTo>
                    <a:pt x="0" y="7"/>
                  </a:lnTo>
                  <a:lnTo>
                    <a:pt x="14" y="0"/>
                  </a:lnTo>
                  <a:lnTo>
                    <a:pt x="28" y="0"/>
                  </a:lnTo>
                  <a:lnTo>
                    <a:pt x="28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7" name="Freeform 66"/>
            <p:cNvSpPr>
              <a:spLocks noChangeArrowheads="1"/>
            </p:cNvSpPr>
            <p:nvPr/>
          </p:nvSpPr>
          <p:spPr bwMode="auto">
            <a:xfrm>
              <a:off x="17713319" y="8024798"/>
              <a:ext cx="10356" cy="16570"/>
            </a:xfrm>
            <a:custGeom>
              <a:avLst/>
              <a:gdLst>
                <a:gd name="T0" fmla="*/ 14 w 22"/>
                <a:gd name="T1" fmla="*/ 27 h 35"/>
                <a:gd name="T2" fmla="*/ 14 w 22"/>
                <a:gd name="T3" fmla="*/ 34 h 35"/>
                <a:gd name="T4" fmla="*/ 21 w 22"/>
                <a:gd name="T5" fmla="*/ 34 h 35"/>
                <a:gd name="T6" fmla="*/ 21 w 22"/>
                <a:gd name="T7" fmla="*/ 27 h 35"/>
                <a:gd name="T8" fmla="*/ 14 w 22"/>
                <a:gd name="T9" fmla="*/ 27 h 35"/>
                <a:gd name="T10" fmla="*/ 0 w 22"/>
                <a:gd name="T11" fmla="*/ 21 h 35"/>
                <a:gd name="T12" fmla="*/ 0 w 22"/>
                <a:gd name="T13" fmla="*/ 7 h 35"/>
                <a:gd name="T14" fmla="*/ 0 w 22"/>
                <a:gd name="T15" fmla="*/ 0 h 35"/>
                <a:gd name="T16" fmla="*/ 0 w 22"/>
                <a:gd name="T17" fmla="*/ 7 h 35"/>
                <a:gd name="T18" fmla="*/ 0 w 22"/>
                <a:gd name="T19" fmla="*/ 21 h 35"/>
                <a:gd name="T20" fmla="*/ 0 w 22"/>
                <a:gd name="T21" fmla="*/ 27 h 35"/>
                <a:gd name="T22" fmla="*/ 14 w 22"/>
                <a:gd name="T23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35">
                  <a:moveTo>
                    <a:pt x="14" y="27"/>
                  </a:moveTo>
                  <a:lnTo>
                    <a:pt x="14" y="34"/>
                  </a:lnTo>
                  <a:lnTo>
                    <a:pt x="21" y="34"/>
                  </a:lnTo>
                  <a:lnTo>
                    <a:pt x="21" y="27"/>
                  </a:lnTo>
                  <a:lnTo>
                    <a:pt x="14" y="27"/>
                  </a:lnTo>
                  <a:lnTo>
                    <a:pt x="0" y="21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1"/>
                  </a:lnTo>
                  <a:lnTo>
                    <a:pt x="0" y="27"/>
                  </a:lnTo>
                  <a:lnTo>
                    <a:pt x="14" y="2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8" name="Freeform 67"/>
            <p:cNvSpPr>
              <a:spLocks noChangeArrowheads="1"/>
            </p:cNvSpPr>
            <p:nvPr/>
          </p:nvSpPr>
          <p:spPr bwMode="auto">
            <a:xfrm>
              <a:off x="17941141" y="8861581"/>
              <a:ext cx="39352" cy="60067"/>
            </a:xfrm>
            <a:custGeom>
              <a:avLst/>
              <a:gdLst>
                <a:gd name="T0" fmla="*/ 28 w 85"/>
                <a:gd name="T1" fmla="*/ 91 h 127"/>
                <a:gd name="T2" fmla="*/ 35 w 85"/>
                <a:gd name="T3" fmla="*/ 91 h 127"/>
                <a:gd name="T4" fmla="*/ 7 w 85"/>
                <a:gd name="T5" fmla="*/ 126 h 127"/>
                <a:gd name="T6" fmla="*/ 7 w 85"/>
                <a:gd name="T7" fmla="*/ 112 h 127"/>
                <a:gd name="T8" fmla="*/ 7 w 85"/>
                <a:gd name="T9" fmla="*/ 91 h 127"/>
                <a:gd name="T10" fmla="*/ 0 w 85"/>
                <a:gd name="T11" fmla="*/ 77 h 127"/>
                <a:gd name="T12" fmla="*/ 7 w 85"/>
                <a:gd name="T13" fmla="*/ 35 h 127"/>
                <a:gd name="T14" fmla="*/ 35 w 85"/>
                <a:gd name="T15" fmla="*/ 28 h 127"/>
                <a:gd name="T16" fmla="*/ 35 w 85"/>
                <a:gd name="T17" fmla="*/ 14 h 127"/>
                <a:gd name="T18" fmla="*/ 70 w 85"/>
                <a:gd name="T19" fmla="*/ 0 h 127"/>
                <a:gd name="T20" fmla="*/ 84 w 85"/>
                <a:gd name="T21" fmla="*/ 14 h 127"/>
                <a:gd name="T22" fmla="*/ 35 w 85"/>
                <a:gd name="T23" fmla="*/ 35 h 127"/>
                <a:gd name="T24" fmla="*/ 28 w 85"/>
                <a:gd name="T25" fmla="*/ 9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27">
                  <a:moveTo>
                    <a:pt x="28" y="91"/>
                  </a:moveTo>
                  <a:lnTo>
                    <a:pt x="35" y="91"/>
                  </a:lnTo>
                  <a:lnTo>
                    <a:pt x="7" y="126"/>
                  </a:lnTo>
                  <a:lnTo>
                    <a:pt x="7" y="112"/>
                  </a:lnTo>
                  <a:lnTo>
                    <a:pt x="7" y="91"/>
                  </a:lnTo>
                  <a:lnTo>
                    <a:pt x="0" y="77"/>
                  </a:lnTo>
                  <a:lnTo>
                    <a:pt x="7" y="35"/>
                  </a:lnTo>
                  <a:lnTo>
                    <a:pt x="35" y="28"/>
                  </a:lnTo>
                  <a:lnTo>
                    <a:pt x="35" y="14"/>
                  </a:lnTo>
                  <a:lnTo>
                    <a:pt x="70" y="0"/>
                  </a:lnTo>
                  <a:lnTo>
                    <a:pt x="84" y="14"/>
                  </a:lnTo>
                  <a:lnTo>
                    <a:pt x="35" y="35"/>
                  </a:lnTo>
                  <a:lnTo>
                    <a:pt x="28" y="9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09" name="Freeform 68"/>
            <p:cNvSpPr>
              <a:spLocks noChangeArrowheads="1"/>
            </p:cNvSpPr>
            <p:nvPr/>
          </p:nvSpPr>
          <p:spPr bwMode="auto">
            <a:xfrm>
              <a:off x="17866581" y="8851227"/>
              <a:ext cx="10356" cy="20712"/>
            </a:xfrm>
            <a:custGeom>
              <a:avLst/>
              <a:gdLst>
                <a:gd name="T0" fmla="*/ 21 w 22"/>
                <a:gd name="T1" fmla="*/ 0 h 42"/>
                <a:gd name="T2" fmla="*/ 21 w 22"/>
                <a:gd name="T3" fmla="*/ 7 h 42"/>
                <a:gd name="T4" fmla="*/ 7 w 22"/>
                <a:gd name="T5" fmla="*/ 41 h 42"/>
                <a:gd name="T6" fmla="*/ 0 w 22"/>
                <a:gd name="T7" fmla="*/ 34 h 42"/>
                <a:gd name="T8" fmla="*/ 21 w 22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2">
                  <a:moveTo>
                    <a:pt x="21" y="0"/>
                  </a:moveTo>
                  <a:lnTo>
                    <a:pt x="21" y="7"/>
                  </a:lnTo>
                  <a:lnTo>
                    <a:pt x="7" y="41"/>
                  </a:lnTo>
                  <a:lnTo>
                    <a:pt x="0" y="34"/>
                  </a:lnTo>
                  <a:lnTo>
                    <a:pt x="21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0" name="Freeform 69"/>
            <p:cNvSpPr>
              <a:spLocks noChangeArrowheads="1"/>
            </p:cNvSpPr>
            <p:nvPr/>
          </p:nvSpPr>
          <p:spPr bwMode="auto">
            <a:xfrm>
              <a:off x="18019844" y="8826371"/>
              <a:ext cx="14498" cy="6213"/>
            </a:xfrm>
            <a:custGeom>
              <a:avLst/>
              <a:gdLst>
                <a:gd name="T0" fmla="*/ 21 w 29"/>
                <a:gd name="T1" fmla="*/ 14 h 15"/>
                <a:gd name="T2" fmla="*/ 28 w 29"/>
                <a:gd name="T3" fmla="*/ 0 h 15"/>
                <a:gd name="T4" fmla="*/ 0 w 29"/>
                <a:gd name="T5" fmla="*/ 0 h 15"/>
                <a:gd name="T6" fmla="*/ 21 w 29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5">
                  <a:moveTo>
                    <a:pt x="21" y="14"/>
                  </a:moveTo>
                  <a:lnTo>
                    <a:pt x="28" y="0"/>
                  </a:lnTo>
                  <a:lnTo>
                    <a:pt x="0" y="0"/>
                  </a:lnTo>
                  <a:lnTo>
                    <a:pt x="21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1" name="Freeform 70"/>
            <p:cNvSpPr>
              <a:spLocks noChangeArrowheads="1"/>
            </p:cNvSpPr>
            <p:nvPr/>
          </p:nvSpPr>
          <p:spPr bwMode="auto">
            <a:xfrm>
              <a:off x="17984636" y="8861581"/>
              <a:ext cx="4142" cy="2072"/>
            </a:xfrm>
            <a:custGeom>
              <a:avLst/>
              <a:gdLst>
                <a:gd name="T0" fmla="*/ 0 w 7"/>
                <a:gd name="T1" fmla="*/ 0 h 1"/>
                <a:gd name="T2" fmla="*/ 6 w 7"/>
                <a:gd name="T3" fmla="*/ 0 h 1"/>
                <a:gd name="T4" fmla="*/ 0 w 7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2" name="Freeform 71"/>
            <p:cNvSpPr>
              <a:spLocks noChangeArrowheads="1"/>
            </p:cNvSpPr>
            <p:nvPr/>
          </p:nvSpPr>
          <p:spPr bwMode="auto">
            <a:xfrm>
              <a:off x="17125123" y="6104756"/>
              <a:ext cx="1062480" cy="1290385"/>
            </a:xfrm>
            <a:custGeom>
              <a:avLst/>
              <a:gdLst>
                <a:gd name="T0" fmla="*/ 0 w 2261"/>
                <a:gd name="T1" fmla="*/ 1698 h 2749"/>
                <a:gd name="T2" fmla="*/ 153 w 2261"/>
                <a:gd name="T3" fmla="*/ 1885 h 2749"/>
                <a:gd name="T4" fmla="*/ 97 w 2261"/>
                <a:gd name="T5" fmla="*/ 2018 h 2749"/>
                <a:gd name="T6" fmla="*/ 306 w 2261"/>
                <a:gd name="T7" fmla="*/ 2101 h 2749"/>
                <a:gd name="T8" fmla="*/ 417 w 2261"/>
                <a:gd name="T9" fmla="*/ 2101 h 2749"/>
                <a:gd name="T10" fmla="*/ 584 w 2261"/>
                <a:gd name="T11" fmla="*/ 2164 h 2749"/>
                <a:gd name="T12" fmla="*/ 563 w 2261"/>
                <a:gd name="T13" fmla="*/ 2261 h 2749"/>
                <a:gd name="T14" fmla="*/ 619 w 2261"/>
                <a:gd name="T15" fmla="*/ 2372 h 2749"/>
                <a:gd name="T16" fmla="*/ 668 w 2261"/>
                <a:gd name="T17" fmla="*/ 2442 h 2749"/>
                <a:gd name="T18" fmla="*/ 723 w 2261"/>
                <a:gd name="T19" fmla="*/ 2463 h 2749"/>
                <a:gd name="T20" fmla="*/ 863 w 2261"/>
                <a:gd name="T21" fmla="*/ 2463 h 2749"/>
                <a:gd name="T22" fmla="*/ 856 w 2261"/>
                <a:gd name="T23" fmla="*/ 2546 h 2749"/>
                <a:gd name="T24" fmla="*/ 911 w 2261"/>
                <a:gd name="T25" fmla="*/ 2671 h 2749"/>
                <a:gd name="T26" fmla="*/ 1023 w 2261"/>
                <a:gd name="T27" fmla="*/ 2658 h 2749"/>
                <a:gd name="T28" fmla="*/ 1126 w 2261"/>
                <a:gd name="T29" fmla="*/ 2686 h 2749"/>
                <a:gd name="T30" fmla="*/ 1202 w 2261"/>
                <a:gd name="T31" fmla="*/ 2553 h 2749"/>
                <a:gd name="T32" fmla="*/ 1335 w 2261"/>
                <a:gd name="T33" fmla="*/ 2546 h 2749"/>
                <a:gd name="T34" fmla="*/ 1404 w 2261"/>
                <a:gd name="T35" fmla="*/ 2428 h 2749"/>
                <a:gd name="T36" fmla="*/ 1529 w 2261"/>
                <a:gd name="T37" fmla="*/ 2379 h 2749"/>
                <a:gd name="T38" fmla="*/ 1648 w 2261"/>
                <a:gd name="T39" fmla="*/ 2192 h 2749"/>
                <a:gd name="T40" fmla="*/ 1877 w 2261"/>
                <a:gd name="T41" fmla="*/ 2150 h 2749"/>
                <a:gd name="T42" fmla="*/ 2065 w 2261"/>
                <a:gd name="T43" fmla="*/ 2122 h 2749"/>
                <a:gd name="T44" fmla="*/ 2135 w 2261"/>
                <a:gd name="T45" fmla="*/ 1934 h 2749"/>
                <a:gd name="T46" fmla="*/ 2218 w 2261"/>
                <a:gd name="T47" fmla="*/ 1871 h 2749"/>
                <a:gd name="T48" fmla="*/ 2260 w 2261"/>
                <a:gd name="T49" fmla="*/ 1760 h 2749"/>
                <a:gd name="T50" fmla="*/ 2093 w 2261"/>
                <a:gd name="T51" fmla="*/ 1725 h 2749"/>
                <a:gd name="T52" fmla="*/ 1912 w 2261"/>
                <a:gd name="T53" fmla="*/ 1531 h 2749"/>
                <a:gd name="T54" fmla="*/ 1829 w 2261"/>
                <a:gd name="T55" fmla="*/ 1572 h 2749"/>
                <a:gd name="T56" fmla="*/ 1794 w 2261"/>
                <a:gd name="T57" fmla="*/ 1510 h 2749"/>
                <a:gd name="T58" fmla="*/ 1648 w 2261"/>
                <a:gd name="T59" fmla="*/ 1433 h 2749"/>
                <a:gd name="T60" fmla="*/ 1662 w 2261"/>
                <a:gd name="T61" fmla="*/ 1259 h 2749"/>
                <a:gd name="T62" fmla="*/ 1599 w 2261"/>
                <a:gd name="T63" fmla="*/ 1079 h 2749"/>
                <a:gd name="T64" fmla="*/ 1606 w 2261"/>
                <a:gd name="T65" fmla="*/ 884 h 2749"/>
                <a:gd name="T66" fmla="*/ 1536 w 2261"/>
                <a:gd name="T67" fmla="*/ 766 h 2749"/>
                <a:gd name="T68" fmla="*/ 1467 w 2261"/>
                <a:gd name="T69" fmla="*/ 605 h 2749"/>
                <a:gd name="T70" fmla="*/ 1418 w 2261"/>
                <a:gd name="T71" fmla="*/ 508 h 2749"/>
                <a:gd name="T72" fmla="*/ 1453 w 2261"/>
                <a:gd name="T73" fmla="*/ 397 h 2749"/>
                <a:gd name="T74" fmla="*/ 1369 w 2261"/>
                <a:gd name="T75" fmla="*/ 355 h 2749"/>
                <a:gd name="T76" fmla="*/ 1202 w 2261"/>
                <a:gd name="T77" fmla="*/ 439 h 2749"/>
                <a:gd name="T78" fmla="*/ 1009 w 2261"/>
                <a:gd name="T79" fmla="*/ 216 h 2749"/>
                <a:gd name="T80" fmla="*/ 883 w 2261"/>
                <a:gd name="T81" fmla="*/ 181 h 2749"/>
                <a:gd name="T82" fmla="*/ 786 w 2261"/>
                <a:gd name="T83" fmla="*/ 181 h 2749"/>
                <a:gd name="T84" fmla="*/ 751 w 2261"/>
                <a:gd name="T85" fmla="*/ 146 h 2749"/>
                <a:gd name="T86" fmla="*/ 758 w 2261"/>
                <a:gd name="T87" fmla="*/ 21 h 2749"/>
                <a:gd name="T88" fmla="*/ 661 w 2261"/>
                <a:gd name="T89" fmla="*/ 77 h 2749"/>
                <a:gd name="T90" fmla="*/ 459 w 2261"/>
                <a:gd name="T91" fmla="*/ 112 h 2749"/>
                <a:gd name="T92" fmla="*/ 396 w 2261"/>
                <a:gd name="T93" fmla="*/ 285 h 2749"/>
                <a:gd name="T94" fmla="*/ 327 w 2261"/>
                <a:gd name="T95" fmla="*/ 390 h 2749"/>
                <a:gd name="T96" fmla="*/ 299 w 2261"/>
                <a:gd name="T97" fmla="*/ 473 h 2749"/>
                <a:gd name="T98" fmla="*/ 404 w 2261"/>
                <a:gd name="T99" fmla="*/ 710 h 2749"/>
                <a:gd name="T100" fmla="*/ 522 w 2261"/>
                <a:gd name="T101" fmla="*/ 738 h 2749"/>
                <a:gd name="T102" fmla="*/ 271 w 2261"/>
                <a:gd name="T103" fmla="*/ 807 h 2749"/>
                <a:gd name="T104" fmla="*/ 111 w 2261"/>
                <a:gd name="T105" fmla="*/ 981 h 2749"/>
                <a:gd name="T106" fmla="*/ 77 w 2261"/>
                <a:gd name="T107" fmla="*/ 1231 h 2749"/>
                <a:gd name="T108" fmla="*/ 97 w 2261"/>
                <a:gd name="T109" fmla="*/ 1398 h 2749"/>
                <a:gd name="T110" fmla="*/ 111 w 2261"/>
                <a:gd name="T111" fmla="*/ 1628 h 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61" h="2749">
                  <a:moveTo>
                    <a:pt x="111" y="1628"/>
                  </a:moveTo>
                  <a:lnTo>
                    <a:pt x="111" y="1642"/>
                  </a:lnTo>
                  <a:lnTo>
                    <a:pt x="69" y="1635"/>
                  </a:lnTo>
                  <a:lnTo>
                    <a:pt x="21" y="1691"/>
                  </a:lnTo>
                  <a:lnTo>
                    <a:pt x="0" y="1698"/>
                  </a:lnTo>
                  <a:lnTo>
                    <a:pt x="7" y="1719"/>
                  </a:lnTo>
                  <a:lnTo>
                    <a:pt x="28" y="1725"/>
                  </a:lnTo>
                  <a:lnTo>
                    <a:pt x="69" y="1837"/>
                  </a:lnTo>
                  <a:lnTo>
                    <a:pt x="153" y="1871"/>
                  </a:lnTo>
                  <a:lnTo>
                    <a:pt x="153" y="1885"/>
                  </a:lnTo>
                  <a:lnTo>
                    <a:pt x="132" y="1927"/>
                  </a:lnTo>
                  <a:lnTo>
                    <a:pt x="111" y="1948"/>
                  </a:lnTo>
                  <a:lnTo>
                    <a:pt x="90" y="1955"/>
                  </a:lnTo>
                  <a:lnTo>
                    <a:pt x="56" y="1997"/>
                  </a:lnTo>
                  <a:lnTo>
                    <a:pt x="97" y="2018"/>
                  </a:lnTo>
                  <a:lnTo>
                    <a:pt x="90" y="2046"/>
                  </a:lnTo>
                  <a:lnTo>
                    <a:pt x="195" y="2087"/>
                  </a:lnTo>
                  <a:lnTo>
                    <a:pt x="229" y="2129"/>
                  </a:lnTo>
                  <a:lnTo>
                    <a:pt x="264" y="2122"/>
                  </a:lnTo>
                  <a:lnTo>
                    <a:pt x="306" y="2101"/>
                  </a:lnTo>
                  <a:lnTo>
                    <a:pt x="341" y="2094"/>
                  </a:lnTo>
                  <a:lnTo>
                    <a:pt x="355" y="2087"/>
                  </a:lnTo>
                  <a:lnTo>
                    <a:pt x="390" y="2115"/>
                  </a:lnTo>
                  <a:lnTo>
                    <a:pt x="396" y="2094"/>
                  </a:lnTo>
                  <a:lnTo>
                    <a:pt x="417" y="2101"/>
                  </a:lnTo>
                  <a:lnTo>
                    <a:pt x="438" y="2059"/>
                  </a:lnTo>
                  <a:lnTo>
                    <a:pt x="501" y="2087"/>
                  </a:lnTo>
                  <a:lnTo>
                    <a:pt x="529" y="2115"/>
                  </a:lnTo>
                  <a:lnTo>
                    <a:pt x="550" y="2150"/>
                  </a:lnTo>
                  <a:lnTo>
                    <a:pt x="584" y="2164"/>
                  </a:lnTo>
                  <a:lnTo>
                    <a:pt x="570" y="2178"/>
                  </a:lnTo>
                  <a:lnTo>
                    <a:pt x="563" y="2192"/>
                  </a:lnTo>
                  <a:lnTo>
                    <a:pt x="570" y="2212"/>
                  </a:lnTo>
                  <a:lnTo>
                    <a:pt x="584" y="2233"/>
                  </a:lnTo>
                  <a:lnTo>
                    <a:pt x="563" y="2261"/>
                  </a:lnTo>
                  <a:lnTo>
                    <a:pt x="584" y="2296"/>
                  </a:lnTo>
                  <a:lnTo>
                    <a:pt x="619" y="2317"/>
                  </a:lnTo>
                  <a:lnTo>
                    <a:pt x="633" y="2317"/>
                  </a:lnTo>
                  <a:lnTo>
                    <a:pt x="633" y="2352"/>
                  </a:lnTo>
                  <a:lnTo>
                    <a:pt x="619" y="2372"/>
                  </a:lnTo>
                  <a:lnTo>
                    <a:pt x="633" y="2393"/>
                  </a:lnTo>
                  <a:lnTo>
                    <a:pt x="654" y="2414"/>
                  </a:lnTo>
                  <a:lnTo>
                    <a:pt x="633" y="2421"/>
                  </a:lnTo>
                  <a:lnTo>
                    <a:pt x="654" y="2428"/>
                  </a:lnTo>
                  <a:lnTo>
                    <a:pt x="668" y="2442"/>
                  </a:lnTo>
                  <a:lnTo>
                    <a:pt x="689" y="2456"/>
                  </a:lnTo>
                  <a:lnTo>
                    <a:pt x="654" y="2456"/>
                  </a:lnTo>
                  <a:lnTo>
                    <a:pt x="668" y="2477"/>
                  </a:lnTo>
                  <a:lnTo>
                    <a:pt x="682" y="2477"/>
                  </a:lnTo>
                  <a:lnTo>
                    <a:pt x="723" y="2463"/>
                  </a:lnTo>
                  <a:lnTo>
                    <a:pt x="730" y="2463"/>
                  </a:lnTo>
                  <a:lnTo>
                    <a:pt x="758" y="2505"/>
                  </a:lnTo>
                  <a:lnTo>
                    <a:pt x="821" y="2463"/>
                  </a:lnTo>
                  <a:lnTo>
                    <a:pt x="821" y="2449"/>
                  </a:lnTo>
                  <a:lnTo>
                    <a:pt x="863" y="2463"/>
                  </a:lnTo>
                  <a:lnTo>
                    <a:pt x="877" y="2484"/>
                  </a:lnTo>
                  <a:lnTo>
                    <a:pt x="856" y="2511"/>
                  </a:lnTo>
                  <a:lnTo>
                    <a:pt x="877" y="2519"/>
                  </a:lnTo>
                  <a:lnTo>
                    <a:pt x="883" y="2539"/>
                  </a:lnTo>
                  <a:lnTo>
                    <a:pt x="856" y="2546"/>
                  </a:lnTo>
                  <a:lnTo>
                    <a:pt x="863" y="2616"/>
                  </a:lnTo>
                  <a:lnTo>
                    <a:pt x="925" y="2609"/>
                  </a:lnTo>
                  <a:lnTo>
                    <a:pt x="946" y="2609"/>
                  </a:lnTo>
                  <a:lnTo>
                    <a:pt x="939" y="2651"/>
                  </a:lnTo>
                  <a:lnTo>
                    <a:pt x="911" y="2671"/>
                  </a:lnTo>
                  <a:lnTo>
                    <a:pt x="946" y="2671"/>
                  </a:lnTo>
                  <a:lnTo>
                    <a:pt x="946" y="2678"/>
                  </a:lnTo>
                  <a:lnTo>
                    <a:pt x="974" y="2658"/>
                  </a:lnTo>
                  <a:lnTo>
                    <a:pt x="988" y="2671"/>
                  </a:lnTo>
                  <a:lnTo>
                    <a:pt x="1023" y="2658"/>
                  </a:lnTo>
                  <a:lnTo>
                    <a:pt x="1023" y="2686"/>
                  </a:lnTo>
                  <a:lnTo>
                    <a:pt x="1036" y="2741"/>
                  </a:lnTo>
                  <a:lnTo>
                    <a:pt x="1044" y="2748"/>
                  </a:lnTo>
                  <a:lnTo>
                    <a:pt x="1085" y="2706"/>
                  </a:lnTo>
                  <a:lnTo>
                    <a:pt x="1126" y="2686"/>
                  </a:lnTo>
                  <a:lnTo>
                    <a:pt x="1175" y="2658"/>
                  </a:lnTo>
                  <a:lnTo>
                    <a:pt x="1182" y="2658"/>
                  </a:lnTo>
                  <a:lnTo>
                    <a:pt x="1189" y="2637"/>
                  </a:lnTo>
                  <a:lnTo>
                    <a:pt x="1182" y="2609"/>
                  </a:lnTo>
                  <a:lnTo>
                    <a:pt x="1202" y="2553"/>
                  </a:lnTo>
                  <a:lnTo>
                    <a:pt x="1189" y="2525"/>
                  </a:lnTo>
                  <a:lnTo>
                    <a:pt x="1237" y="2519"/>
                  </a:lnTo>
                  <a:lnTo>
                    <a:pt x="1251" y="2560"/>
                  </a:lnTo>
                  <a:lnTo>
                    <a:pt x="1272" y="2581"/>
                  </a:lnTo>
                  <a:lnTo>
                    <a:pt x="1335" y="2546"/>
                  </a:lnTo>
                  <a:lnTo>
                    <a:pt x="1349" y="2525"/>
                  </a:lnTo>
                  <a:lnTo>
                    <a:pt x="1376" y="2539"/>
                  </a:lnTo>
                  <a:lnTo>
                    <a:pt x="1404" y="2511"/>
                  </a:lnTo>
                  <a:lnTo>
                    <a:pt x="1349" y="2449"/>
                  </a:lnTo>
                  <a:lnTo>
                    <a:pt x="1404" y="2428"/>
                  </a:lnTo>
                  <a:lnTo>
                    <a:pt x="1411" y="2428"/>
                  </a:lnTo>
                  <a:lnTo>
                    <a:pt x="1453" y="2421"/>
                  </a:lnTo>
                  <a:lnTo>
                    <a:pt x="1453" y="2379"/>
                  </a:lnTo>
                  <a:lnTo>
                    <a:pt x="1474" y="2379"/>
                  </a:lnTo>
                  <a:lnTo>
                    <a:pt x="1529" y="2379"/>
                  </a:lnTo>
                  <a:lnTo>
                    <a:pt x="1599" y="2324"/>
                  </a:lnTo>
                  <a:lnTo>
                    <a:pt x="1613" y="2317"/>
                  </a:lnTo>
                  <a:lnTo>
                    <a:pt x="1648" y="2310"/>
                  </a:lnTo>
                  <a:lnTo>
                    <a:pt x="1627" y="2212"/>
                  </a:lnTo>
                  <a:lnTo>
                    <a:pt x="1648" y="2192"/>
                  </a:lnTo>
                  <a:lnTo>
                    <a:pt x="1703" y="2219"/>
                  </a:lnTo>
                  <a:lnTo>
                    <a:pt x="1745" y="2185"/>
                  </a:lnTo>
                  <a:lnTo>
                    <a:pt x="1856" y="2185"/>
                  </a:lnTo>
                  <a:lnTo>
                    <a:pt x="1863" y="2150"/>
                  </a:lnTo>
                  <a:lnTo>
                    <a:pt x="1877" y="2150"/>
                  </a:lnTo>
                  <a:lnTo>
                    <a:pt x="1891" y="2164"/>
                  </a:lnTo>
                  <a:lnTo>
                    <a:pt x="1926" y="2178"/>
                  </a:lnTo>
                  <a:lnTo>
                    <a:pt x="1996" y="2150"/>
                  </a:lnTo>
                  <a:lnTo>
                    <a:pt x="2037" y="2094"/>
                  </a:lnTo>
                  <a:lnTo>
                    <a:pt x="2065" y="2122"/>
                  </a:lnTo>
                  <a:lnTo>
                    <a:pt x="2093" y="2101"/>
                  </a:lnTo>
                  <a:lnTo>
                    <a:pt x="2128" y="2052"/>
                  </a:lnTo>
                  <a:lnTo>
                    <a:pt x="2107" y="2031"/>
                  </a:lnTo>
                  <a:lnTo>
                    <a:pt x="2142" y="1983"/>
                  </a:lnTo>
                  <a:lnTo>
                    <a:pt x="2135" y="1934"/>
                  </a:lnTo>
                  <a:lnTo>
                    <a:pt x="2156" y="1892"/>
                  </a:lnTo>
                  <a:lnTo>
                    <a:pt x="2142" y="1871"/>
                  </a:lnTo>
                  <a:lnTo>
                    <a:pt x="2197" y="1858"/>
                  </a:lnTo>
                  <a:lnTo>
                    <a:pt x="2218" y="1858"/>
                  </a:lnTo>
                  <a:lnTo>
                    <a:pt x="2218" y="1871"/>
                  </a:lnTo>
                  <a:lnTo>
                    <a:pt x="2239" y="1816"/>
                  </a:lnTo>
                  <a:lnTo>
                    <a:pt x="2253" y="1816"/>
                  </a:lnTo>
                  <a:lnTo>
                    <a:pt x="2239" y="1802"/>
                  </a:lnTo>
                  <a:lnTo>
                    <a:pt x="2260" y="1774"/>
                  </a:lnTo>
                  <a:lnTo>
                    <a:pt x="2260" y="1760"/>
                  </a:lnTo>
                  <a:lnTo>
                    <a:pt x="2218" y="1642"/>
                  </a:lnTo>
                  <a:lnTo>
                    <a:pt x="2190" y="1691"/>
                  </a:lnTo>
                  <a:lnTo>
                    <a:pt x="2142" y="1704"/>
                  </a:lnTo>
                  <a:lnTo>
                    <a:pt x="2128" y="1704"/>
                  </a:lnTo>
                  <a:lnTo>
                    <a:pt x="2093" y="1725"/>
                  </a:lnTo>
                  <a:lnTo>
                    <a:pt x="2009" y="1600"/>
                  </a:lnTo>
                  <a:lnTo>
                    <a:pt x="1975" y="1586"/>
                  </a:lnTo>
                  <a:lnTo>
                    <a:pt x="1968" y="1565"/>
                  </a:lnTo>
                  <a:lnTo>
                    <a:pt x="1961" y="1572"/>
                  </a:lnTo>
                  <a:lnTo>
                    <a:pt x="1912" y="1531"/>
                  </a:lnTo>
                  <a:lnTo>
                    <a:pt x="1891" y="1558"/>
                  </a:lnTo>
                  <a:lnTo>
                    <a:pt x="1842" y="1565"/>
                  </a:lnTo>
                  <a:lnTo>
                    <a:pt x="1835" y="1538"/>
                  </a:lnTo>
                  <a:lnTo>
                    <a:pt x="1808" y="1572"/>
                  </a:lnTo>
                  <a:lnTo>
                    <a:pt x="1829" y="1572"/>
                  </a:lnTo>
                  <a:lnTo>
                    <a:pt x="1808" y="1635"/>
                  </a:lnTo>
                  <a:lnTo>
                    <a:pt x="1794" y="1635"/>
                  </a:lnTo>
                  <a:lnTo>
                    <a:pt x="1780" y="1635"/>
                  </a:lnTo>
                  <a:lnTo>
                    <a:pt x="1773" y="1586"/>
                  </a:lnTo>
                  <a:lnTo>
                    <a:pt x="1794" y="1510"/>
                  </a:lnTo>
                  <a:lnTo>
                    <a:pt x="1738" y="1503"/>
                  </a:lnTo>
                  <a:lnTo>
                    <a:pt x="1738" y="1489"/>
                  </a:lnTo>
                  <a:lnTo>
                    <a:pt x="1738" y="1475"/>
                  </a:lnTo>
                  <a:lnTo>
                    <a:pt x="1696" y="1454"/>
                  </a:lnTo>
                  <a:lnTo>
                    <a:pt x="1648" y="1433"/>
                  </a:lnTo>
                  <a:lnTo>
                    <a:pt x="1669" y="1398"/>
                  </a:lnTo>
                  <a:lnTo>
                    <a:pt x="1641" y="1329"/>
                  </a:lnTo>
                  <a:lnTo>
                    <a:pt x="1662" y="1301"/>
                  </a:lnTo>
                  <a:lnTo>
                    <a:pt x="1669" y="1308"/>
                  </a:lnTo>
                  <a:lnTo>
                    <a:pt x="1662" y="1259"/>
                  </a:lnTo>
                  <a:lnTo>
                    <a:pt x="1641" y="1225"/>
                  </a:lnTo>
                  <a:lnTo>
                    <a:pt x="1662" y="1141"/>
                  </a:lnTo>
                  <a:lnTo>
                    <a:pt x="1648" y="1148"/>
                  </a:lnTo>
                  <a:lnTo>
                    <a:pt x="1634" y="1085"/>
                  </a:lnTo>
                  <a:lnTo>
                    <a:pt x="1599" y="1079"/>
                  </a:lnTo>
                  <a:lnTo>
                    <a:pt x="1571" y="1085"/>
                  </a:lnTo>
                  <a:lnTo>
                    <a:pt x="1543" y="1037"/>
                  </a:lnTo>
                  <a:lnTo>
                    <a:pt x="1585" y="1009"/>
                  </a:lnTo>
                  <a:lnTo>
                    <a:pt x="1606" y="967"/>
                  </a:lnTo>
                  <a:lnTo>
                    <a:pt x="1606" y="884"/>
                  </a:lnTo>
                  <a:lnTo>
                    <a:pt x="1599" y="898"/>
                  </a:lnTo>
                  <a:lnTo>
                    <a:pt x="1550" y="877"/>
                  </a:lnTo>
                  <a:lnTo>
                    <a:pt x="1536" y="807"/>
                  </a:lnTo>
                  <a:lnTo>
                    <a:pt x="1550" y="779"/>
                  </a:lnTo>
                  <a:lnTo>
                    <a:pt x="1536" y="766"/>
                  </a:lnTo>
                  <a:lnTo>
                    <a:pt x="1502" y="766"/>
                  </a:lnTo>
                  <a:lnTo>
                    <a:pt x="1481" y="738"/>
                  </a:lnTo>
                  <a:lnTo>
                    <a:pt x="1502" y="717"/>
                  </a:lnTo>
                  <a:lnTo>
                    <a:pt x="1481" y="619"/>
                  </a:lnTo>
                  <a:lnTo>
                    <a:pt x="1467" y="605"/>
                  </a:lnTo>
                  <a:lnTo>
                    <a:pt x="1453" y="585"/>
                  </a:lnTo>
                  <a:lnTo>
                    <a:pt x="1446" y="557"/>
                  </a:lnTo>
                  <a:lnTo>
                    <a:pt x="1432" y="550"/>
                  </a:lnTo>
                  <a:lnTo>
                    <a:pt x="1411" y="515"/>
                  </a:lnTo>
                  <a:lnTo>
                    <a:pt x="1418" y="508"/>
                  </a:lnTo>
                  <a:lnTo>
                    <a:pt x="1411" y="494"/>
                  </a:lnTo>
                  <a:lnTo>
                    <a:pt x="1446" y="473"/>
                  </a:lnTo>
                  <a:lnTo>
                    <a:pt x="1467" y="439"/>
                  </a:lnTo>
                  <a:lnTo>
                    <a:pt x="1439" y="397"/>
                  </a:lnTo>
                  <a:lnTo>
                    <a:pt x="1453" y="397"/>
                  </a:lnTo>
                  <a:lnTo>
                    <a:pt x="1439" y="376"/>
                  </a:lnTo>
                  <a:lnTo>
                    <a:pt x="1453" y="362"/>
                  </a:lnTo>
                  <a:lnTo>
                    <a:pt x="1439" y="341"/>
                  </a:lnTo>
                  <a:lnTo>
                    <a:pt x="1383" y="327"/>
                  </a:lnTo>
                  <a:lnTo>
                    <a:pt x="1369" y="355"/>
                  </a:lnTo>
                  <a:lnTo>
                    <a:pt x="1356" y="376"/>
                  </a:lnTo>
                  <a:lnTo>
                    <a:pt x="1341" y="418"/>
                  </a:lnTo>
                  <a:lnTo>
                    <a:pt x="1300" y="397"/>
                  </a:lnTo>
                  <a:lnTo>
                    <a:pt x="1244" y="397"/>
                  </a:lnTo>
                  <a:lnTo>
                    <a:pt x="1202" y="439"/>
                  </a:lnTo>
                  <a:lnTo>
                    <a:pt x="1209" y="425"/>
                  </a:lnTo>
                  <a:lnTo>
                    <a:pt x="1140" y="376"/>
                  </a:lnTo>
                  <a:lnTo>
                    <a:pt x="1078" y="306"/>
                  </a:lnTo>
                  <a:lnTo>
                    <a:pt x="1044" y="251"/>
                  </a:lnTo>
                  <a:lnTo>
                    <a:pt x="1009" y="216"/>
                  </a:lnTo>
                  <a:lnTo>
                    <a:pt x="974" y="195"/>
                  </a:lnTo>
                  <a:lnTo>
                    <a:pt x="960" y="223"/>
                  </a:lnTo>
                  <a:lnTo>
                    <a:pt x="939" y="223"/>
                  </a:lnTo>
                  <a:lnTo>
                    <a:pt x="890" y="174"/>
                  </a:lnTo>
                  <a:lnTo>
                    <a:pt x="883" y="181"/>
                  </a:lnTo>
                  <a:lnTo>
                    <a:pt x="877" y="174"/>
                  </a:lnTo>
                  <a:lnTo>
                    <a:pt x="842" y="230"/>
                  </a:lnTo>
                  <a:lnTo>
                    <a:pt x="814" y="230"/>
                  </a:lnTo>
                  <a:lnTo>
                    <a:pt x="821" y="209"/>
                  </a:lnTo>
                  <a:lnTo>
                    <a:pt x="786" y="181"/>
                  </a:lnTo>
                  <a:lnTo>
                    <a:pt x="758" y="209"/>
                  </a:lnTo>
                  <a:lnTo>
                    <a:pt x="723" y="195"/>
                  </a:lnTo>
                  <a:lnTo>
                    <a:pt x="696" y="160"/>
                  </a:lnTo>
                  <a:lnTo>
                    <a:pt x="710" y="132"/>
                  </a:lnTo>
                  <a:lnTo>
                    <a:pt x="751" y="146"/>
                  </a:lnTo>
                  <a:lnTo>
                    <a:pt x="793" y="77"/>
                  </a:lnTo>
                  <a:lnTo>
                    <a:pt x="779" y="28"/>
                  </a:lnTo>
                  <a:lnTo>
                    <a:pt x="793" y="14"/>
                  </a:lnTo>
                  <a:lnTo>
                    <a:pt x="765" y="0"/>
                  </a:lnTo>
                  <a:lnTo>
                    <a:pt x="758" y="21"/>
                  </a:lnTo>
                  <a:lnTo>
                    <a:pt x="730" y="14"/>
                  </a:lnTo>
                  <a:lnTo>
                    <a:pt x="717" y="35"/>
                  </a:lnTo>
                  <a:lnTo>
                    <a:pt x="696" y="28"/>
                  </a:lnTo>
                  <a:lnTo>
                    <a:pt x="689" y="56"/>
                  </a:lnTo>
                  <a:lnTo>
                    <a:pt x="661" y="77"/>
                  </a:lnTo>
                  <a:lnTo>
                    <a:pt x="668" y="56"/>
                  </a:lnTo>
                  <a:lnTo>
                    <a:pt x="598" y="56"/>
                  </a:lnTo>
                  <a:lnTo>
                    <a:pt x="550" y="56"/>
                  </a:lnTo>
                  <a:lnTo>
                    <a:pt x="529" y="14"/>
                  </a:lnTo>
                  <a:lnTo>
                    <a:pt x="459" y="112"/>
                  </a:lnTo>
                  <a:lnTo>
                    <a:pt x="431" y="195"/>
                  </a:lnTo>
                  <a:lnTo>
                    <a:pt x="417" y="188"/>
                  </a:lnTo>
                  <a:lnTo>
                    <a:pt x="355" y="188"/>
                  </a:lnTo>
                  <a:lnTo>
                    <a:pt x="327" y="244"/>
                  </a:lnTo>
                  <a:lnTo>
                    <a:pt x="396" y="285"/>
                  </a:lnTo>
                  <a:lnTo>
                    <a:pt x="417" y="306"/>
                  </a:lnTo>
                  <a:lnTo>
                    <a:pt x="417" y="320"/>
                  </a:lnTo>
                  <a:lnTo>
                    <a:pt x="396" y="320"/>
                  </a:lnTo>
                  <a:lnTo>
                    <a:pt x="341" y="362"/>
                  </a:lnTo>
                  <a:lnTo>
                    <a:pt x="327" y="390"/>
                  </a:lnTo>
                  <a:lnTo>
                    <a:pt x="271" y="397"/>
                  </a:lnTo>
                  <a:lnTo>
                    <a:pt x="223" y="445"/>
                  </a:lnTo>
                  <a:lnTo>
                    <a:pt x="229" y="473"/>
                  </a:lnTo>
                  <a:lnTo>
                    <a:pt x="285" y="473"/>
                  </a:lnTo>
                  <a:lnTo>
                    <a:pt x="299" y="473"/>
                  </a:lnTo>
                  <a:lnTo>
                    <a:pt x="306" y="550"/>
                  </a:lnTo>
                  <a:lnTo>
                    <a:pt x="355" y="543"/>
                  </a:lnTo>
                  <a:lnTo>
                    <a:pt x="404" y="605"/>
                  </a:lnTo>
                  <a:lnTo>
                    <a:pt x="390" y="675"/>
                  </a:lnTo>
                  <a:lnTo>
                    <a:pt x="404" y="710"/>
                  </a:lnTo>
                  <a:lnTo>
                    <a:pt x="466" y="738"/>
                  </a:lnTo>
                  <a:lnTo>
                    <a:pt x="487" y="689"/>
                  </a:lnTo>
                  <a:lnTo>
                    <a:pt x="501" y="668"/>
                  </a:lnTo>
                  <a:lnTo>
                    <a:pt x="550" y="710"/>
                  </a:lnTo>
                  <a:lnTo>
                    <a:pt x="522" y="738"/>
                  </a:lnTo>
                  <a:lnTo>
                    <a:pt x="515" y="738"/>
                  </a:lnTo>
                  <a:lnTo>
                    <a:pt x="431" y="786"/>
                  </a:lnTo>
                  <a:lnTo>
                    <a:pt x="390" y="800"/>
                  </a:lnTo>
                  <a:lnTo>
                    <a:pt x="334" y="835"/>
                  </a:lnTo>
                  <a:lnTo>
                    <a:pt x="271" y="807"/>
                  </a:lnTo>
                  <a:lnTo>
                    <a:pt x="250" y="807"/>
                  </a:lnTo>
                  <a:lnTo>
                    <a:pt x="250" y="842"/>
                  </a:lnTo>
                  <a:lnTo>
                    <a:pt x="209" y="946"/>
                  </a:lnTo>
                  <a:lnTo>
                    <a:pt x="174" y="953"/>
                  </a:lnTo>
                  <a:lnTo>
                    <a:pt x="111" y="981"/>
                  </a:lnTo>
                  <a:lnTo>
                    <a:pt x="56" y="1037"/>
                  </a:lnTo>
                  <a:lnTo>
                    <a:pt x="42" y="1079"/>
                  </a:lnTo>
                  <a:lnTo>
                    <a:pt x="62" y="1162"/>
                  </a:lnTo>
                  <a:lnTo>
                    <a:pt x="56" y="1183"/>
                  </a:lnTo>
                  <a:lnTo>
                    <a:pt x="77" y="1231"/>
                  </a:lnTo>
                  <a:lnTo>
                    <a:pt x="104" y="1204"/>
                  </a:lnTo>
                  <a:lnTo>
                    <a:pt x="153" y="1231"/>
                  </a:lnTo>
                  <a:lnTo>
                    <a:pt x="132" y="1308"/>
                  </a:lnTo>
                  <a:lnTo>
                    <a:pt x="125" y="1315"/>
                  </a:lnTo>
                  <a:lnTo>
                    <a:pt x="97" y="1398"/>
                  </a:lnTo>
                  <a:lnTo>
                    <a:pt x="97" y="1475"/>
                  </a:lnTo>
                  <a:lnTo>
                    <a:pt x="69" y="1558"/>
                  </a:lnTo>
                  <a:lnTo>
                    <a:pt x="97" y="1565"/>
                  </a:lnTo>
                  <a:lnTo>
                    <a:pt x="111" y="1593"/>
                  </a:lnTo>
                  <a:lnTo>
                    <a:pt x="111" y="162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3" name="Freeform 72"/>
            <p:cNvSpPr>
              <a:spLocks noChangeArrowheads="1"/>
            </p:cNvSpPr>
            <p:nvPr/>
          </p:nvSpPr>
          <p:spPr bwMode="auto">
            <a:xfrm>
              <a:off x="17282528" y="5742287"/>
              <a:ext cx="1410427" cy="1317311"/>
            </a:xfrm>
            <a:custGeom>
              <a:avLst/>
              <a:gdLst>
                <a:gd name="T0" fmla="*/ 2552 w 3005"/>
                <a:gd name="T1" fmla="*/ 1085 h 2804"/>
                <a:gd name="T2" fmla="*/ 2462 w 3005"/>
                <a:gd name="T3" fmla="*/ 890 h 2804"/>
                <a:gd name="T4" fmla="*/ 2308 w 3005"/>
                <a:gd name="T5" fmla="*/ 751 h 2804"/>
                <a:gd name="T6" fmla="*/ 2295 w 3005"/>
                <a:gd name="T7" fmla="*/ 793 h 2804"/>
                <a:gd name="T8" fmla="*/ 2065 w 3005"/>
                <a:gd name="T9" fmla="*/ 689 h 2804"/>
                <a:gd name="T10" fmla="*/ 1508 w 3005"/>
                <a:gd name="T11" fmla="*/ 264 h 2804"/>
                <a:gd name="T12" fmla="*/ 1084 w 3005"/>
                <a:gd name="T13" fmla="*/ 0 h 2804"/>
                <a:gd name="T14" fmla="*/ 1063 w 3005"/>
                <a:gd name="T15" fmla="*/ 167 h 2804"/>
                <a:gd name="T16" fmla="*/ 1001 w 3005"/>
                <a:gd name="T17" fmla="*/ 258 h 2804"/>
                <a:gd name="T18" fmla="*/ 855 w 3005"/>
                <a:gd name="T19" fmla="*/ 306 h 2804"/>
                <a:gd name="T20" fmla="*/ 813 w 3005"/>
                <a:gd name="T21" fmla="*/ 230 h 2804"/>
                <a:gd name="T22" fmla="*/ 737 w 3005"/>
                <a:gd name="T23" fmla="*/ 230 h 2804"/>
                <a:gd name="T24" fmla="*/ 716 w 3005"/>
                <a:gd name="T25" fmla="*/ 160 h 2804"/>
                <a:gd name="T26" fmla="*/ 577 w 3005"/>
                <a:gd name="T27" fmla="*/ 139 h 2804"/>
                <a:gd name="T28" fmla="*/ 529 w 3005"/>
                <a:gd name="T29" fmla="*/ 83 h 2804"/>
                <a:gd name="T30" fmla="*/ 424 w 3005"/>
                <a:gd name="T31" fmla="*/ 42 h 2804"/>
                <a:gd name="T32" fmla="*/ 292 w 3005"/>
                <a:gd name="T33" fmla="*/ 83 h 2804"/>
                <a:gd name="T34" fmla="*/ 216 w 3005"/>
                <a:gd name="T35" fmla="*/ 132 h 2804"/>
                <a:gd name="T36" fmla="*/ 104 w 3005"/>
                <a:gd name="T37" fmla="*/ 139 h 2804"/>
                <a:gd name="T38" fmla="*/ 90 w 3005"/>
                <a:gd name="T39" fmla="*/ 299 h 2804"/>
                <a:gd name="T40" fmla="*/ 21 w 3005"/>
                <a:gd name="T41" fmla="*/ 473 h 2804"/>
                <a:gd name="T42" fmla="*/ 202 w 3005"/>
                <a:gd name="T43" fmla="*/ 466 h 2804"/>
                <a:gd name="T44" fmla="*/ 389 w 3005"/>
                <a:gd name="T45" fmla="*/ 494 h 2804"/>
                <a:gd name="T46" fmla="*/ 396 w 3005"/>
                <a:gd name="T47" fmla="*/ 633 h 2804"/>
                <a:gd name="T48" fmla="*/ 320 w 3005"/>
                <a:gd name="T49" fmla="*/ 633 h 2804"/>
                <a:gd name="T50" fmla="*/ 153 w 3005"/>
                <a:gd name="T51" fmla="*/ 723 h 2804"/>
                <a:gd name="T52" fmla="*/ 327 w 3005"/>
                <a:gd name="T53" fmla="*/ 849 h 2804"/>
                <a:gd name="T54" fmla="*/ 424 w 3005"/>
                <a:gd name="T55" fmla="*/ 793 h 2804"/>
                <a:gd name="T56" fmla="*/ 417 w 3005"/>
                <a:gd name="T57" fmla="*/ 918 h 2804"/>
                <a:gd name="T58" fmla="*/ 452 w 3005"/>
                <a:gd name="T59" fmla="*/ 953 h 2804"/>
                <a:gd name="T60" fmla="*/ 549 w 3005"/>
                <a:gd name="T61" fmla="*/ 953 h 2804"/>
                <a:gd name="T62" fmla="*/ 675 w 3005"/>
                <a:gd name="T63" fmla="*/ 988 h 2804"/>
                <a:gd name="T64" fmla="*/ 868 w 3005"/>
                <a:gd name="T65" fmla="*/ 1211 h 2804"/>
                <a:gd name="T66" fmla="*/ 1035 w 3005"/>
                <a:gd name="T67" fmla="*/ 1127 h 2804"/>
                <a:gd name="T68" fmla="*/ 1119 w 3005"/>
                <a:gd name="T69" fmla="*/ 1169 h 2804"/>
                <a:gd name="T70" fmla="*/ 1084 w 3005"/>
                <a:gd name="T71" fmla="*/ 1280 h 2804"/>
                <a:gd name="T72" fmla="*/ 1133 w 3005"/>
                <a:gd name="T73" fmla="*/ 1377 h 2804"/>
                <a:gd name="T74" fmla="*/ 1202 w 3005"/>
                <a:gd name="T75" fmla="*/ 1538 h 2804"/>
                <a:gd name="T76" fmla="*/ 1272 w 3005"/>
                <a:gd name="T77" fmla="*/ 1656 h 2804"/>
                <a:gd name="T78" fmla="*/ 1265 w 3005"/>
                <a:gd name="T79" fmla="*/ 1851 h 2804"/>
                <a:gd name="T80" fmla="*/ 1328 w 3005"/>
                <a:gd name="T81" fmla="*/ 2031 h 2804"/>
                <a:gd name="T82" fmla="*/ 1314 w 3005"/>
                <a:gd name="T83" fmla="*/ 2205 h 2804"/>
                <a:gd name="T84" fmla="*/ 1460 w 3005"/>
                <a:gd name="T85" fmla="*/ 2282 h 2804"/>
                <a:gd name="T86" fmla="*/ 1495 w 3005"/>
                <a:gd name="T87" fmla="*/ 2344 h 2804"/>
                <a:gd name="T88" fmla="*/ 1578 w 3005"/>
                <a:gd name="T89" fmla="*/ 2303 h 2804"/>
                <a:gd name="T90" fmla="*/ 1759 w 3005"/>
                <a:gd name="T91" fmla="*/ 2497 h 2804"/>
                <a:gd name="T92" fmla="*/ 1926 w 3005"/>
                <a:gd name="T93" fmla="*/ 2532 h 2804"/>
                <a:gd name="T94" fmla="*/ 1884 w 3005"/>
                <a:gd name="T95" fmla="*/ 2643 h 2804"/>
                <a:gd name="T96" fmla="*/ 1801 w 3005"/>
                <a:gd name="T97" fmla="*/ 2706 h 2804"/>
                <a:gd name="T98" fmla="*/ 2037 w 3005"/>
                <a:gd name="T99" fmla="*/ 2762 h 2804"/>
                <a:gd name="T100" fmla="*/ 2211 w 3005"/>
                <a:gd name="T101" fmla="*/ 2776 h 2804"/>
                <a:gd name="T102" fmla="*/ 2322 w 3005"/>
                <a:gd name="T103" fmla="*/ 2623 h 2804"/>
                <a:gd name="T104" fmla="*/ 2510 w 3005"/>
                <a:gd name="T105" fmla="*/ 2532 h 2804"/>
                <a:gd name="T106" fmla="*/ 2649 w 3005"/>
                <a:gd name="T107" fmla="*/ 2525 h 2804"/>
                <a:gd name="T108" fmla="*/ 2747 w 3005"/>
                <a:gd name="T109" fmla="*/ 2435 h 2804"/>
                <a:gd name="T110" fmla="*/ 2962 w 3005"/>
                <a:gd name="T111" fmla="*/ 2365 h 2804"/>
                <a:gd name="T112" fmla="*/ 2948 w 3005"/>
                <a:gd name="T113" fmla="*/ 2212 h 2804"/>
                <a:gd name="T114" fmla="*/ 2886 w 3005"/>
                <a:gd name="T115" fmla="*/ 1948 h 2804"/>
                <a:gd name="T116" fmla="*/ 2775 w 3005"/>
                <a:gd name="T117" fmla="*/ 1614 h 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05" h="2804">
                  <a:moveTo>
                    <a:pt x="2719" y="1475"/>
                  </a:moveTo>
                  <a:lnTo>
                    <a:pt x="2705" y="1447"/>
                  </a:lnTo>
                  <a:lnTo>
                    <a:pt x="2649" y="1357"/>
                  </a:lnTo>
                  <a:lnTo>
                    <a:pt x="2615" y="1231"/>
                  </a:lnTo>
                  <a:lnTo>
                    <a:pt x="2552" y="1085"/>
                  </a:lnTo>
                  <a:lnTo>
                    <a:pt x="2517" y="1016"/>
                  </a:lnTo>
                  <a:lnTo>
                    <a:pt x="2517" y="988"/>
                  </a:lnTo>
                  <a:lnTo>
                    <a:pt x="2524" y="918"/>
                  </a:lnTo>
                  <a:lnTo>
                    <a:pt x="2503" y="898"/>
                  </a:lnTo>
                  <a:lnTo>
                    <a:pt x="2462" y="890"/>
                  </a:lnTo>
                  <a:lnTo>
                    <a:pt x="2427" y="849"/>
                  </a:lnTo>
                  <a:lnTo>
                    <a:pt x="2441" y="856"/>
                  </a:lnTo>
                  <a:lnTo>
                    <a:pt x="2406" y="800"/>
                  </a:lnTo>
                  <a:lnTo>
                    <a:pt x="2329" y="751"/>
                  </a:lnTo>
                  <a:lnTo>
                    <a:pt x="2308" y="751"/>
                  </a:lnTo>
                  <a:lnTo>
                    <a:pt x="2322" y="751"/>
                  </a:lnTo>
                  <a:lnTo>
                    <a:pt x="2322" y="772"/>
                  </a:lnTo>
                  <a:lnTo>
                    <a:pt x="2315" y="758"/>
                  </a:lnTo>
                  <a:lnTo>
                    <a:pt x="2322" y="772"/>
                  </a:lnTo>
                  <a:lnTo>
                    <a:pt x="2295" y="793"/>
                  </a:lnTo>
                  <a:lnTo>
                    <a:pt x="2190" y="765"/>
                  </a:lnTo>
                  <a:lnTo>
                    <a:pt x="2128" y="723"/>
                  </a:lnTo>
                  <a:lnTo>
                    <a:pt x="2135" y="703"/>
                  </a:lnTo>
                  <a:lnTo>
                    <a:pt x="2121" y="723"/>
                  </a:lnTo>
                  <a:lnTo>
                    <a:pt x="2065" y="689"/>
                  </a:lnTo>
                  <a:lnTo>
                    <a:pt x="1995" y="640"/>
                  </a:lnTo>
                  <a:lnTo>
                    <a:pt x="1787" y="473"/>
                  </a:lnTo>
                  <a:lnTo>
                    <a:pt x="1717" y="431"/>
                  </a:lnTo>
                  <a:lnTo>
                    <a:pt x="1578" y="306"/>
                  </a:lnTo>
                  <a:lnTo>
                    <a:pt x="1508" y="264"/>
                  </a:lnTo>
                  <a:lnTo>
                    <a:pt x="1432" y="195"/>
                  </a:lnTo>
                  <a:lnTo>
                    <a:pt x="1335" y="104"/>
                  </a:lnTo>
                  <a:lnTo>
                    <a:pt x="1161" y="7"/>
                  </a:lnTo>
                  <a:lnTo>
                    <a:pt x="1140" y="7"/>
                  </a:lnTo>
                  <a:lnTo>
                    <a:pt x="1084" y="0"/>
                  </a:lnTo>
                  <a:lnTo>
                    <a:pt x="1077" y="35"/>
                  </a:lnTo>
                  <a:lnTo>
                    <a:pt x="1070" y="63"/>
                  </a:lnTo>
                  <a:lnTo>
                    <a:pt x="1049" y="83"/>
                  </a:lnTo>
                  <a:lnTo>
                    <a:pt x="1049" y="118"/>
                  </a:lnTo>
                  <a:lnTo>
                    <a:pt x="1063" y="167"/>
                  </a:lnTo>
                  <a:lnTo>
                    <a:pt x="1035" y="195"/>
                  </a:lnTo>
                  <a:lnTo>
                    <a:pt x="1063" y="209"/>
                  </a:lnTo>
                  <a:lnTo>
                    <a:pt x="1049" y="216"/>
                  </a:lnTo>
                  <a:lnTo>
                    <a:pt x="1035" y="237"/>
                  </a:lnTo>
                  <a:lnTo>
                    <a:pt x="1001" y="258"/>
                  </a:lnTo>
                  <a:lnTo>
                    <a:pt x="973" y="258"/>
                  </a:lnTo>
                  <a:lnTo>
                    <a:pt x="973" y="313"/>
                  </a:lnTo>
                  <a:lnTo>
                    <a:pt x="903" y="313"/>
                  </a:lnTo>
                  <a:lnTo>
                    <a:pt x="868" y="313"/>
                  </a:lnTo>
                  <a:lnTo>
                    <a:pt x="855" y="306"/>
                  </a:lnTo>
                  <a:lnTo>
                    <a:pt x="868" y="271"/>
                  </a:lnTo>
                  <a:lnTo>
                    <a:pt x="855" y="271"/>
                  </a:lnTo>
                  <a:lnTo>
                    <a:pt x="841" y="271"/>
                  </a:lnTo>
                  <a:lnTo>
                    <a:pt x="841" y="230"/>
                  </a:lnTo>
                  <a:lnTo>
                    <a:pt x="813" y="230"/>
                  </a:lnTo>
                  <a:lnTo>
                    <a:pt x="813" y="174"/>
                  </a:lnTo>
                  <a:lnTo>
                    <a:pt x="786" y="181"/>
                  </a:lnTo>
                  <a:lnTo>
                    <a:pt x="772" y="216"/>
                  </a:lnTo>
                  <a:lnTo>
                    <a:pt x="751" y="230"/>
                  </a:lnTo>
                  <a:lnTo>
                    <a:pt x="737" y="230"/>
                  </a:lnTo>
                  <a:lnTo>
                    <a:pt x="723" y="216"/>
                  </a:lnTo>
                  <a:lnTo>
                    <a:pt x="716" y="202"/>
                  </a:lnTo>
                  <a:lnTo>
                    <a:pt x="723" y="195"/>
                  </a:lnTo>
                  <a:lnTo>
                    <a:pt x="723" y="160"/>
                  </a:lnTo>
                  <a:lnTo>
                    <a:pt x="716" y="160"/>
                  </a:lnTo>
                  <a:lnTo>
                    <a:pt x="654" y="111"/>
                  </a:lnTo>
                  <a:lnTo>
                    <a:pt x="647" y="160"/>
                  </a:lnTo>
                  <a:lnTo>
                    <a:pt x="619" y="160"/>
                  </a:lnTo>
                  <a:lnTo>
                    <a:pt x="584" y="160"/>
                  </a:lnTo>
                  <a:lnTo>
                    <a:pt x="577" y="139"/>
                  </a:lnTo>
                  <a:lnTo>
                    <a:pt x="529" y="160"/>
                  </a:lnTo>
                  <a:lnTo>
                    <a:pt x="508" y="174"/>
                  </a:lnTo>
                  <a:lnTo>
                    <a:pt x="487" y="146"/>
                  </a:lnTo>
                  <a:lnTo>
                    <a:pt x="515" y="139"/>
                  </a:lnTo>
                  <a:lnTo>
                    <a:pt x="529" y="83"/>
                  </a:lnTo>
                  <a:lnTo>
                    <a:pt x="515" y="35"/>
                  </a:lnTo>
                  <a:lnTo>
                    <a:pt x="508" y="14"/>
                  </a:lnTo>
                  <a:lnTo>
                    <a:pt x="487" y="14"/>
                  </a:lnTo>
                  <a:lnTo>
                    <a:pt x="459" y="14"/>
                  </a:lnTo>
                  <a:lnTo>
                    <a:pt x="424" y="42"/>
                  </a:lnTo>
                  <a:lnTo>
                    <a:pt x="417" y="35"/>
                  </a:lnTo>
                  <a:lnTo>
                    <a:pt x="383" y="14"/>
                  </a:lnTo>
                  <a:lnTo>
                    <a:pt x="362" y="49"/>
                  </a:lnTo>
                  <a:lnTo>
                    <a:pt x="327" y="83"/>
                  </a:lnTo>
                  <a:lnTo>
                    <a:pt x="292" y="83"/>
                  </a:lnTo>
                  <a:lnTo>
                    <a:pt x="264" y="104"/>
                  </a:lnTo>
                  <a:lnTo>
                    <a:pt x="264" y="118"/>
                  </a:lnTo>
                  <a:lnTo>
                    <a:pt x="229" y="111"/>
                  </a:lnTo>
                  <a:lnTo>
                    <a:pt x="216" y="111"/>
                  </a:lnTo>
                  <a:lnTo>
                    <a:pt x="216" y="132"/>
                  </a:lnTo>
                  <a:lnTo>
                    <a:pt x="181" y="118"/>
                  </a:lnTo>
                  <a:lnTo>
                    <a:pt x="167" y="111"/>
                  </a:lnTo>
                  <a:lnTo>
                    <a:pt x="125" y="98"/>
                  </a:lnTo>
                  <a:lnTo>
                    <a:pt x="118" y="98"/>
                  </a:lnTo>
                  <a:lnTo>
                    <a:pt x="104" y="139"/>
                  </a:lnTo>
                  <a:lnTo>
                    <a:pt x="125" y="160"/>
                  </a:lnTo>
                  <a:lnTo>
                    <a:pt x="104" y="202"/>
                  </a:lnTo>
                  <a:lnTo>
                    <a:pt x="83" y="237"/>
                  </a:lnTo>
                  <a:lnTo>
                    <a:pt x="70" y="264"/>
                  </a:lnTo>
                  <a:lnTo>
                    <a:pt x="90" y="299"/>
                  </a:lnTo>
                  <a:lnTo>
                    <a:pt x="35" y="341"/>
                  </a:lnTo>
                  <a:lnTo>
                    <a:pt x="35" y="376"/>
                  </a:lnTo>
                  <a:lnTo>
                    <a:pt x="7" y="397"/>
                  </a:lnTo>
                  <a:lnTo>
                    <a:pt x="0" y="445"/>
                  </a:lnTo>
                  <a:lnTo>
                    <a:pt x="21" y="473"/>
                  </a:lnTo>
                  <a:lnTo>
                    <a:pt x="70" y="473"/>
                  </a:lnTo>
                  <a:lnTo>
                    <a:pt x="118" y="459"/>
                  </a:lnTo>
                  <a:lnTo>
                    <a:pt x="160" y="522"/>
                  </a:lnTo>
                  <a:lnTo>
                    <a:pt x="167" y="494"/>
                  </a:lnTo>
                  <a:lnTo>
                    <a:pt x="202" y="466"/>
                  </a:lnTo>
                  <a:lnTo>
                    <a:pt x="264" y="473"/>
                  </a:lnTo>
                  <a:lnTo>
                    <a:pt x="264" y="459"/>
                  </a:lnTo>
                  <a:lnTo>
                    <a:pt x="313" y="445"/>
                  </a:lnTo>
                  <a:lnTo>
                    <a:pt x="348" y="466"/>
                  </a:lnTo>
                  <a:lnTo>
                    <a:pt x="389" y="494"/>
                  </a:lnTo>
                  <a:lnTo>
                    <a:pt x="396" y="508"/>
                  </a:lnTo>
                  <a:lnTo>
                    <a:pt x="459" y="571"/>
                  </a:lnTo>
                  <a:lnTo>
                    <a:pt x="424" y="577"/>
                  </a:lnTo>
                  <a:lnTo>
                    <a:pt x="396" y="571"/>
                  </a:lnTo>
                  <a:lnTo>
                    <a:pt x="396" y="633"/>
                  </a:lnTo>
                  <a:lnTo>
                    <a:pt x="362" y="633"/>
                  </a:lnTo>
                  <a:lnTo>
                    <a:pt x="362" y="591"/>
                  </a:lnTo>
                  <a:lnTo>
                    <a:pt x="355" y="529"/>
                  </a:lnTo>
                  <a:lnTo>
                    <a:pt x="348" y="591"/>
                  </a:lnTo>
                  <a:lnTo>
                    <a:pt x="320" y="633"/>
                  </a:lnTo>
                  <a:lnTo>
                    <a:pt x="250" y="626"/>
                  </a:lnTo>
                  <a:lnTo>
                    <a:pt x="250" y="668"/>
                  </a:lnTo>
                  <a:lnTo>
                    <a:pt x="195" y="703"/>
                  </a:lnTo>
                  <a:lnTo>
                    <a:pt x="167" y="717"/>
                  </a:lnTo>
                  <a:lnTo>
                    <a:pt x="153" y="723"/>
                  </a:lnTo>
                  <a:lnTo>
                    <a:pt x="195" y="786"/>
                  </a:lnTo>
                  <a:lnTo>
                    <a:pt x="216" y="828"/>
                  </a:lnTo>
                  <a:lnTo>
                    <a:pt x="264" y="828"/>
                  </a:lnTo>
                  <a:lnTo>
                    <a:pt x="334" y="828"/>
                  </a:lnTo>
                  <a:lnTo>
                    <a:pt x="327" y="849"/>
                  </a:lnTo>
                  <a:lnTo>
                    <a:pt x="355" y="828"/>
                  </a:lnTo>
                  <a:lnTo>
                    <a:pt x="362" y="800"/>
                  </a:lnTo>
                  <a:lnTo>
                    <a:pt x="383" y="807"/>
                  </a:lnTo>
                  <a:lnTo>
                    <a:pt x="396" y="786"/>
                  </a:lnTo>
                  <a:lnTo>
                    <a:pt x="424" y="793"/>
                  </a:lnTo>
                  <a:lnTo>
                    <a:pt x="431" y="772"/>
                  </a:lnTo>
                  <a:lnTo>
                    <a:pt x="459" y="786"/>
                  </a:lnTo>
                  <a:lnTo>
                    <a:pt x="445" y="800"/>
                  </a:lnTo>
                  <a:lnTo>
                    <a:pt x="459" y="849"/>
                  </a:lnTo>
                  <a:lnTo>
                    <a:pt x="417" y="918"/>
                  </a:lnTo>
                  <a:lnTo>
                    <a:pt x="376" y="904"/>
                  </a:lnTo>
                  <a:lnTo>
                    <a:pt x="362" y="932"/>
                  </a:lnTo>
                  <a:lnTo>
                    <a:pt x="389" y="967"/>
                  </a:lnTo>
                  <a:lnTo>
                    <a:pt x="424" y="981"/>
                  </a:lnTo>
                  <a:lnTo>
                    <a:pt x="452" y="953"/>
                  </a:lnTo>
                  <a:lnTo>
                    <a:pt x="487" y="981"/>
                  </a:lnTo>
                  <a:lnTo>
                    <a:pt x="480" y="1002"/>
                  </a:lnTo>
                  <a:lnTo>
                    <a:pt x="508" y="1002"/>
                  </a:lnTo>
                  <a:lnTo>
                    <a:pt x="543" y="946"/>
                  </a:lnTo>
                  <a:lnTo>
                    <a:pt x="549" y="953"/>
                  </a:lnTo>
                  <a:lnTo>
                    <a:pt x="556" y="946"/>
                  </a:lnTo>
                  <a:lnTo>
                    <a:pt x="605" y="995"/>
                  </a:lnTo>
                  <a:lnTo>
                    <a:pt x="626" y="995"/>
                  </a:lnTo>
                  <a:lnTo>
                    <a:pt x="640" y="967"/>
                  </a:lnTo>
                  <a:lnTo>
                    <a:pt x="675" y="988"/>
                  </a:lnTo>
                  <a:lnTo>
                    <a:pt x="710" y="1023"/>
                  </a:lnTo>
                  <a:lnTo>
                    <a:pt x="744" y="1078"/>
                  </a:lnTo>
                  <a:lnTo>
                    <a:pt x="806" y="1148"/>
                  </a:lnTo>
                  <a:lnTo>
                    <a:pt x="875" y="1197"/>
                  </a:lnTo>
                  <a:lnTo>
                    <a:pt x="868" y="1211"/>
                  </a:lnTo>
                  <a:lnTo>
                    <a:pt x="910" y="1169"/>
                  </a:lnTo>
                  <a:lnTo>
                    <a:pt x="966" y="1169"/>
                  </a:lnTo>
                  <a:lnTo>
                    <a:pt x="1007" y="1190"/>
                  </a:lnTo>
                  <a:lnTo>
                    <a:pt x="1022" y="1148"/>
                  </a:lnTo>
                  <a:lnTo>
                    <a:pt x="1035" y="1127"/>
                  </a:lnTo>
                  <a:lnTo>
                    <a:pt x="1049" y="1099"/>
                  </a:lnTo>
                  <a:lnTo>
                    <a:pt x="1105" y="1113"/>
                  </a:lnTo>
                  <a:lnTo>
                    <a:pt x="1119" y="1134"/>
                  </a:lnTo>
                  <a:lnTo>
                    <a:pt x="1105" y="1148"/>
                  </a:lnTo>
                  <a:lnTo>
                    <a:pt x="1119" y="1169"/>
                  </a:lnTo>
                  <a:lnTo>
                    <a:pt x="1105" y="1169"/>
                  </a:lnTo>
                  <a:lnTo>
                    <a:pt x="1133" y="1211"/>
                  </a:lnTo>
                  <a:lnTo>
                    <a:pt x="1112" y="1245"/>
                  </a:lnTo>
                  <a:lnTo>
                    <a:pt x="1077" y="1266"/>
                  </a:lnTo>
                  <a:lnTo>
                    <a:pt x="1084" y="1280"/>
                  </a:lnTo>
                  <a:lnTo>
                    <a:pt x="1077" y="1287"/>
                  </a:lnTo>
                  <a:lnTo>
                    <a:pt x="1098" y="1322"/>
                  </a:lnTo>
                  <a:lnTo>
                    <a:pt x="1112" y="1329"/>
                  </a:lnTo>
                  <a:lnTo>
                    <a:pt x="1119" y="1357"/>
                  </a:lnTo>
                  <a:lnTo>
                    <a:pt x="1133" y="1377"/>
                  </a:lnTo>
                  <a:lnTo>
                    <a:pt x="1147" y="1391"/>
                  </a:lnTo>
                  <a:lnTo>
                    <a:pt x="1168" y="1489"/>
                  </a:lnTo>
                  <a:lnTo>
                    <a:pt x="1147" y="1510"/>
                  </a:lnTo>
                  <a:lnTo>
                    <a:pt x="1168" y="1538"/>
                  </a:lnTo>
                  <a:lnTo>
                    <a:pt x="1202" y="1538"/>
                  </a:lnTo>
                  <a:lnTo>
                    <a:pt x="1216" y="1551"/>
                  </a:lnTo>
                  <a:lnTo>
                    <a:pt x="1202" y="1579"/>
                  </a:lnTo>
                  <a:lnTo>
                    <a:pt x="1216" y="1649"/>
                  </a:lnTo>
                  <a:lnTo>
                    <a:pt x="1265" y="1670"/>
                  </a:lnTo>
                  <a:lnTo>
                    <a:pt x="1272" y="1656"/>
                  </a:lnTo>
                  <a:lnTo>
                    <a:pt x="1272" y="1739"/>
                  </a:lnTo>
                  <a:lnTo>
                    <a:pt x="1251" y="1781"/>
                  </a:lnTo>
                  <a:lnTo>
                    <a:pt x="1209" y="1809"/>
                  </a:lnTo>
                  <a:lnTo>
                    <a:pt x="1237" y="1857"/>
                  </a:lnTo>
                  <a:lnTo>
                    <a:pt x="1265" y="1851"/>
                  </a:lnTo>
                  <a:lnTo>
                    <a:pt x="1300" y="1857"/>
                  </a:lnTo>
                  <a:lnTo>
                    <a:pt x="1314" y="1920"/>
                  </a:lnTo>
                  <a:lnTo>
                    <a:pt x="1328" y="1913"/>
                  </a:lnTo>
                  <a:lnTo>
                    <a:pt x="1307" y="1997"/>
                  </a:lnTo>
                  <a:lnTo>
                    <a:pt x="1328" y="2031"/>
                  </a:lnTo>
                  <a:lnTo>
                    <a:pt x="1335" y="2080"/>
                  </a:lnTo>
                  <a:lnTo>
                    <a:pt x="1328" y="2073"/>
                  </a:lnTo>
                  <a:lnTo>
                    <a:pt x="1307" y="2101"/>
                  </a:lnTo>
                  <a:lnTo>
                    <a:pt x="1335" y="2170"/>
                  </a:lnTo>
                  <a:lnTo>
                    <a:pt x="1314" y="2205"/>
                  </a:lnTo>
                  <a:lnTo>
                    <a:pt x="1362" y="2226"/>
                  </a:lnTo>
                  <a:lnTo>
                    <a:pt x="1404" y="2247"/>
                  </a:lnTo>
                  <a:lnTo>
                    <a:pt x="1404" y="2261"/>
                  </a:lnTo>
                  <a:lnTo>
                    <a:pt x="1404" y="2275"/>
                  </a:lnTo>
                  <a:lnTo>
                    <a:pt x="1460" y="2282"/>
                  </a:lnTo>
                  <a:lnTo>
                    <a:pt x="1439" y="2358"/>
                  </a:lnTo>
                  <a:lnTo>
                    <a:pt x="1446" y="2407"/>
                  </a:lnTo>
                  <a:lnTo>
                    <a:pt x="1460" y="2407"/>
                  </a:lnTo>
                  <a:lnTo>
                    <a:pt x="1474" y="2407"/>
                  </a:lnTo>
                  <a:lnTo>
                    <a:pt x="1495" y="2344"/>
                  </a:lnTo>
                  <a:lnTo>
                    <a:pt x="1474" y="2344"/>
                  </a:lnTo>
                  <a:lnTo>
                    <a:pt x="1501" y="2310"/>
                  </a:lnTo>
                  <a:lnTo>
                    <a:pt x="1508" y="2337"/>
                  </a:lnTo>
                  <a:lnTo>
                    <a:pt x="1557" y="2330"/>
                  </a:lnTo>
                  <a:lnTo>
                    <a:pt x="1578" y="2303"/>
                  </a:lnTo>
                  <a:lnTo>
                    <a:pt x="1627" y="2344"/>
                  </a:lnTo>
                  <a:lnTo>
                    <a:pt x="1634" y="2337"/>
                  </a:lnTo>
                  <a:lnTo>
                    <a:pt x="1641" y="2358"/>
                  </a:lnTo>
                  <a:lnTo>
                    <a:pt x="1675" y="2372"/>
                  </a:lnTo>
                  <a:lnTo>
                    <a:pt x="1759" y="2497"/>
                  </a:lnTo>
                  <a:lnTo>
                    <a:pt x="1794" y="2476"/>
                  </a:lnTo>
                  <a:lnTo>
                    <a:pt x="1808" y="2476"/>
                  </a:lnTo>
                  <a:lnTo>
                    <a:pt x="1856" y="2463"/>
                  </a:lnTo>
                  <a:lnTo>
                    <a:pt x="1884" y="2414"/>
                  </a:lnTo>
                  <a:lnTo>
                    <a:pt x="1926" y="2532"/>
                  </a:lnTo>
                  <a:lnTo>
                    <a:pt x="1926" y="2546"/>
                  </a:lnTo>
                  <a:lnTo>
                    <a:pt x="1905" y="2574"/>
                  </a:lnTo>
                  <a:lnTo>
                    <a:pt x="1919" y="2588"/>
                  </a:lnTo>
                  <a:lnTo>
                    <a:pt x="1905" y="2588"/>
                  </a:lnTo>
                  <a:lnTo>
                    <a:pt x="1884" y="2643"/>
                  </a:lnTo>
                  <a:lnTo>
                    <a:pt x="1884" y="2630"/>
                  </a:lnTo>
                  <a:lnTo>
                    <a:pt x="1863" y="2630"/>
                  </a:lnTo>
                  <a:lnTo>
                    <a:pt x="1808" y="2643"/>
                  </a:lnTo>
                  <a:lnTo>
                    <a:pt x="1822" y="2664"/>
                  </a:lnTo>
                  <a:lnTo>
                    <a:pt x="1801" y="2706"/>
                  </a:lnTo>
                  <a:lnTo>
                    <a:pt x="1905" y="2734"/>
                  </a:lnTo>
                  <a:lnTo>
                    <a:pt x="1933" y="2692"/>
                  </a:lnTo>
                  <a:lnTo>
                    <a:pt x="1961" y="2692"/>
                  </a:lnTo>
                  <a:lnTo>
                    <a:pt x="1981" y="2720"/>
                  </a:lnTo>
                  <a:lnTo>
                    <a:pt x="2037" y="2762"/>
                  </a:lnTo>
                  <a:lnTo>
                    <a:pt x="2079" y="2797"/>
                  </a:lnTo>
                  <a:lnTo>
                    <a:pt x="2086" y="2790"/>
                  </a:lnTo>
                  <a:lnTo>
                    <a:pt x="2128" y="2803"/>
                  </a:lnTo>
                  <a:lnTo>
                    <a:pt x="2197" y="2762"/>
                  </a:lnTo>
                  <a:lnTo>
                    <a:pt x="2211" y="2776"/>
                  </a:lnTo>
                  <a:lnTo>
                    <a:pt x="2218" y="2720"/>
                  </a:lnTo>
                  <a:lnTo>
                    <a:pt x="2260" y="2706"/>
                  </a:lnTo>
                  <a:lnTo>
                    <a:pt x="2308" y="2699"/>
                  </a:lnTo>
                  <a:lnTo>
                    <a:pt x="2322" y="2664"/>
                  </a:lnTo>
                  <a:lnTo>
                    <a:pt x="2322" y="2623"/>
                  </a:lnTo>
                  <a:lnTo>
                    <a:pt x="2378" y="2546"/>
                  </a:lnTo>
                  <a:lnTo>
                    <a:pt x="2378" y="2525"/>
                  </a:lnTo>
                  <a:lnTo>
                    <a:pt x="2420" y="2560"/>
                  </a:lnTo>
                  <a:lnTo>
                    <a:pt x="2441" y="2560"/>
                  </a:lnTo>
                  <a:lnTo>
                    <a:pt x="2510" y="2532"/>
                  </a:lnTo>
                  <a:lnTo>
                    <a:pt x="2524" y="2532"/>
                  </a:lnTo>
                  <a:lnTo>
                    <a:pt x="2538" y="2560"/>
                  </a:lnTo>
                  <a:lnTo>
                    <a:pt x="2580" y="2546"/>
                  </a:lnTo>
                  <a:lnTo>
                    <a:pt x="2621" y="2525"/>
                  </a:lnTo>
                  <a:lnTo>
                    <a:pt x="2649" y="2525"/>
                  </a:lnTo>
                  <a:lnTo>
                    <a:pt x="2656" y="2491"/>
                  </a:lnTo>
                  <a:lnTo>
                    <a:pt x="2656" y="2456"/>
                  </a:lnTo>
                  <a:lnTo>
                    <a:pt x="2684" y="2442"/>
                  </a:lnTo>
                  <a:lnTo>
                    <a:pt x="2719" y="2442"/>
                  </a:lnTo>
                  <a:lnTo>
                    <a:pt x="2747" y="2435"/>
                  </a:lnTo>
                  <a:lnTo>
                    <a:pt x="2754" y="2435"/>
                  </a:lnTo>
                  <a:lnTo>
                    <a:pt x="2830" y="2400"/>
                  </a:lnTo>
                  <a:lnTo>
                    <a:pt x="2865" y="2379"/>
                  </a:lnTo>
                  <a:lnTo>
                    <a:pt x="2942" y="2365"/>
                  </a:lnTo>
                  <a:lnTo>
                    <a:pt x="2962" y="2365"/>
                  </a:lnTo>
                  <a:lnTo>
                    <a:pt x="3004" y="2358"/>
                  </a:lnTo>
                  <a:lnTo>
                    <a:pt x="2976" y="2282"/>
                  </a:lnTo>
                  <a:lnTo>
                    <a:pt x="2962" y="2226"/>
                  </a:lnTo>
                  <a:lnTo>
                    <a:pt x="2962" y="2233"/>
                  </a:lnTo>
                  <a:lnTo>
                    <a:pt x="2948" y="2212"/>
                  </a:lnTo>
                  <a:lnTo>
                    <a:pt x="2942" y="2205"/>
                  </a:lnTo>
                  <a:lnTo>
                    <a:pt x="2914" y="2101"/>
                  </a:lnTo>
                  <a:lnTo>
                    <a:pt x="2900" y="2003"/>
                  </a:lnTo>
                  <a:lnTo>
                    <a:pt x="2886" y="1976"/>
                  </a:lnTo>
                  <a:lnTo>
                    <a:pt x="2886" y="1948"/>
                  </a:lnTo>
                  <a:lnTo>
                    <a:pt x="2879" y="1899"/>
                  </a:lnTo>
                  <a:lnTo>
                    <a:pt x="2851" y="1844"/>
                  </a:lnTo>
                  <a:lnTo>
                    <a:pt x="2830" y="1767"/>
                  </a:lnTo>
                  <a:lnTo>
                    <a:pt x="2788" y="1684"/>
                  </a:lnTo>
                  <a:lnTo>
                    <a:pt x="2775" y="1614"/>
                  </a:lnTo>
                  <a:lnTo>
                    <a:pt x="2719" y="147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4" name="Freeform 73"/>
            <p:cNvSpPr>
              <a:spLocks noChangeArrowheads="1"/>
            </p:cNvSpPr>
            <p:nvPr/>
          </p:nvSpPr>
          <p:spPr bwMode="auto">
            <a:xfrm>
              <a:off x="17344662" y="5903844"/>
              <a:ext cx="55920" cy="43497"/>
            </a:xfrm>
            <a:custGeom>
              <a:avLst/>
              <a:gdLst>
                <a:gd name="T0" fmla="*/ 0 w 119"/>
                <a:gd name="T1" fmla="*/ 0 h 91"/>
                <a:gd name="T2" fmla="*/ 0 w 119"/>
                <a:gd name="T3" fmla="*/ 28 h 91"/>
                <a:gd name="T4" fmla="*/ 14 w 119"/>
                <a:gd name="T5" fmla="*/ 62 h 91"/>
                <a:gd name="T6" fmla="*/ 35 w 119"/>
                <a:gd name="T7" fmla="*/ 90 h 91"/>
                <a:gd name="T8" fmla="*/ 90 w 119"/>
                <a:gd name="T9" fmla="*/ 56 h 91"/>
                <a:gd name="T10" fmla="*/ 118 w 119"/>
                <a:gd name="T11" fmla="*/ 49 h 91"/>
                <a:gd name="T12" fmla="*/ 84 w 119"/>
                <a:gd name="T13" fmla="*/ 0 h 91"/>
                <a:gd name="T14" fmla="*/ 70 w 119"/>
                <a:gd name="T15" fmla="*/ 14 h 91"/>
                <a:gd name="T16" fmla="*/ 0 w 119"/>
                <a:gd name="T17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91">
                  <a:moveTo>
                    <a:pt x="0" y="0"/>
                  </a:moveTo>
                  <a:lnTo>
                    <a:pt x="0" y="28"/>
                  </a:lnTo>
                  <a:lnTo>
                    <a:pt x="14" y="62"/>
                  </a:lnTo>
                  <a:lnTo>
                    <a:pt x="35" y="90"/>
                  </a:lnTo>
                  <a:lnTo>
                    <a:pt x="90" y="56"/>
                  </a:lnTo>
                  <a:lnTo>
                    <a:pt x="118" y="49"/>
                  </a:lnTo>
                  <a:lnTo>
                    <a:pt x="84" y="0"/>
                  </a:lnTo>
                  <a:lnTo>
                    <a:pt x="70" y="14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5" name="Freeform 74"/>
            <p:cNvSpPr>
              <a:spLocks noChangeArrowheads="1"/>
            </p:cNvSpPr>
            <p:nvPr/>
          </p:nvSpPr>
          <p:spPr bwMode="auto">
            <a:xfrm>
              <a:off x="15420601" y="5222407"/>
              <a:ext cx="2077322" cy="2172735"/>
            </a:xfrm>
            <a:custGeom>
              <a:avLst/>
              <a:gdLst>
                <a:gd name="T0" fmla="*/ 2247 w 4425"/>
                <a:gd name="T1" fmla="*/ 842 h 4627"/>
                <a:gd name="T2" fmla="*/ 2031 w 4425"/>
                <a:gd name="T3" fmla="*/ 904 h 4627"/>
                <a:gd name="T4" fmla="*/ 1899 w 4425"/>
                <a:gd name="T5" fmla="*/ 793 h 4627"/>
                <a:gd name="T6" fmla="*/ 1579 w 4425"/>
                <a:gd name="T7" fmla="*/ 696 h 4627"/>
                <a:gd name="T8" fmla="*/ 1474 w 4425"/>
                <a:gd name="T9" fmla="*/ 758 h 4627"/>
                <a:gd name="T10" fmla="*/ 1335 w 4425"/>
                <a:gd name="T11" fmla="*/ 564 h 4627"/>
                <a:gd name="T12" fmla="*/ 1099 w 4425"/>
                <a:gd name="T13" fmla="*/ 445 h 4627"/>
                <a:gd name="T14" fmla="*/ 841 w 4425"/>
                <a:gd name="T15" fmla="*/ 348 h 4627"/>
                <a:gd name="T16" fmla="*/ 598 w 4425"/>
                <a:gd name="T17" fmla="*/ 223 h 4627"/>
                <a:gd name="T18" fmla="*/ 466 w 4425"/>
                <a:gd name="T19" fmla="*/ 28 h 4627"/>
                <a:gd name="T20" fmla="*/ 118 w 4425"/>
                <a:gd name="T21" fmla="*/ 188 h 4627"/>
                <a:gd name="T22" fmla="*/ 69 w 4425"/>
                <a:gd name="T23" fmla="*/ 320 h 4627"/>
                <a:gd name="T24" fmla="*/ 278 w 4425"/>
                <a:gd name="T25" fmla="*/ 452 h 4627"/>
                <a:gd name="T26" fmla="*/ 333 w 4425"/>
                <a:gd name="T27" fmla="*/ 584 h 4627"/>
                <a:gd name="T28" fmla="*/ 347 w 4425"/>
                <a:gd name="T29" fmla="*/ 682 h 4627"/>
                <a:gd name="T30" fmla="*/ 487 w 4425"/>
                <a:gd name="T31" fmla="*/ 828 h 4627"/>
                <a:gd name="T32" fmla="*/ 563 w 4425"/>
                <a:gd name="T33" fmla="*/ 904 h 4627"/>
                <a:gd name="T34" fmla="*/ 814 w 4425"/>
                <a:gd name="T35" fmla="*/ 1169 h 4627"/>
                <a:gd name="T36" fmla="*/ 966 w 4425"/>
                <a:gd name="T37" fmla="*/ 1579 h 4627"/>
                <a:gd name="T38" fmla="*/ 1043 w 4425"/>
                <a:gd name="T39" fmla="*/ 2136 h 4627"/>
                <a:gd name="T40" fmla="*/ 1217 w 4425"/>
                <a:gd name="T41" fmla="*/ 2365 h 4627"/>
                <a:gd name="T42" fmla="*/ 1405 w 4425"/>
                <a:gd name="T43" fmla="*/ 2984 h 4627"/>
                <a:gd name="T44" fmla="*/ 1342 w 4425"/>
                <a:gd name="T45" fmla="*/ 3381 h 4627"/>
                <a:gd name="T46" fmla="*/ 1739 w 4425"/>
                <a:gd name="T47" fmla="*/ 3388 h 4627"/>
                <a:gd name="T48" fmla="*/ 1739 w 4425"/>
                <a:gd name="T49" fmla="*/ 3652 h 4627"/>
                <a:gd name="T50" fmla="*/ 2184 w 4425"/>
                <a:gd name="T51" fmla="*/ 3993 h 4627"/>
                <a:gd name="T52" fmla="*/ 2421 w 4425"/>
                <a:gd name="T53" fmla="*/ 4188 h 4627"/>
                <a:gd name="T54" fmla="*/ 2316 w 4425"/>
                <a:gd name="T55" fmla="*/ 4487 h 4627"/>
                <a:gd name="T56" fmla="*/ 2476 w 4425"/>
                <a:gd name="T57" fmla="*/ 4626 h 4627"/>
                <a:gd name="T58" fmla="*/ 2615 w 4425"/>
                <a:gd name="T59" fmla="*/ 4501 h 4627"/>
                <a:gd name="T60" fmla="*/ 2970 w 4425"/>
                <a:gd name="T61" fmla="*/ 4459 h 4627"/>
                <a:gd name="T62" fmla="*/ 3109 w 4425"/>
                <a:gd name="T63" fmla="*/ 4299 h 4627"/>
                <a:gd name="T64" fmla="*/ 3179 w 4425"/>
                <a:gd name="T65" fmla="*/ 4195 h 4627"/>
                <a:gd name="T66" fmla="*/ 3339 w 4425"/>
                <a:gd name="T67" fmla="*/ 4090 h 4627"/>
                <a:gd name="T68" fmla="*/ 3492 w 4425"/>
                <a:gd name="T69" fmla="*/ 4007 h 4627"/>
                <a:gd name="T70" fmla="*/ 3513 w 4425"/>
                <a:gd name="T71" fmla="*/ 3791 h 4627"/>
                <a:gd name="T72" fmla="*/ 3443 w 4425"/>
                <a:gd name="T73" fmla="*/ 3617 h 4627"/>
                <a:gd name="T74" fmla="*/ 3631 w 4425"/>
                <a:gd name="T75" fmla="*/ 3576 h 4627"/>
                <a:gd name="T76" fmla="*/ 3728 w 4425"/>
                <a:gd name="T77" fmla="*/ 3443 h 4627"/>
                <a:gd name="T78" fmla="*/ 3784 w 4425"/>
                <a:gd name="T79" fmla="*/ 3109 h 4627"/>
                <a:gd name="T80" fmla="*/ 3687 w 4425"/>
                <a:gd name="T81" fmla="*/ 2915 h 4627"/>
                <a:gd name="T82" fmla="*/ 3902 w 4425"/>
                <a:gd name="T83" fmla="*/ 2685 h 4627"/>
                <a:gd name="T84" fmla="*/ 4181 w 4425"/>
                <a:gd name="T85" fmla="*/ 2588 h 4627"/>
                <a:gd name="T86" fmla="*/ 4035 w 4425"/>
                <a:gd name="T87" fmla="*/ 2483 h 4627"/>
                <a:gd name="T88" fmla="*/ 3854 w 4425"/>
                <a:gd name="T89" fmla="*/ 2323 h 4627"/>
                <a:gd name="T90" fmla="*/ 4048 w 4425"/>
                <a:gd name="T91" fmla="*/ 2184 h 4627"/>
                <a:gd name="T92" fmla="*/ 4090 w 4425"/>
                <a:gd name="T93" fmla="*/ 1990 h 4627"/>
                <a:gd name="T94" fmla="*/ 4215 w 4425"/>
                <a:gd name="T95" fmla="*/ 1732 h 4627"/>
                <a:gd name="T96" fmla="*/ 4361 w 4425"/>
                <a:gd name="T97" fmla="*/ 1677 h 4627"/>
                <a:gd name="T98" fmla="*/ 4278 w 4425"/>
                <a:gd name="T99" fmla="*/ 1551 h 4627"/>
                <a:gd name="T100" fmla="*/ 4083 w 4425"/>
                <a:gd name="T101" fmla="*/ 1565 h 4627"/>
                <a:gd name="T102" fmla="*/ 3833 w 4425"/>
                <a:gd name="T103" fmla="*/ 1565 h 4627"/>
                <a:gd name="T104" fmla="*/ 3603 w 4425"/>
                <a:gd name="T105" fmla="*/ 1447 h 4627"/>
                <a:gd name="T106" fmla="*/ 3339 w 4425"/>
                <a:gd name="T107" fmla="*/ 1308 h 4627"/>
                <a:gd name="T108" fmla="*/ 3228 w 4425"/>
                <a:gd name="T109" fmla="*/ 1050 h 4627"/>
                <a:gd name="T110" fmla="*/ 3367 w 4425"/>
                <a:gd name="T111" fmla="*/ 856 h 4627"/>
                <a:gd name="T112" fmla="*/ 3248 w 4425"/>
                <a:gd name="T113" fmla="*/ 807 h 4627"/>
                <a:gd name="T114" fmla="*/ 3179 w 4425"/>
                <a:gd name="T115" fmla="*/ 724 h 4627"/>
                <a:gd name="T116" fmla="*/ 3019 w 4425"/>
                <a:gd name="T117" fmla="*/ 696 h 4627"/>
                <a:gd name="T118" fmla="*/ 2866 w 4425"/>
                <a:gd name="T119" fmla="*/ 522 h 4627"/>
                <a:gd name="T120" fmla="*/ 2650 w 4425"/>
                <a:gd name="T121" fmla="*/ 661 h 4627"/>
                <a:gd name="T122" fmla="*/ 2594 w 4425"/>
                <a:gd name="T123" fmla="*/ 814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5" h="4627">
                  <a:moveTo>
                    <a:pt x="2490" y="821"/>
                  </a:moveTo>
                  <a:lnTo>
                    <a:pt x="2483" y="814"/>
                  </a:lnTo>
                  <a:lnTo>
                    <a:pt x="2379" y="793"/>
                  </a:lnTo>
                  <a:lnTo>
                    <a:pt x="2323" y="828"/>
                  </a:lnTo>
                  <a:lnTo>
                    <a:pt x="2316" y="842"/>
                  </a:lnTo>
                  <a:lnTo>
                    <a:pt x="2247" y="842"/>
                  </a:lnTo>
                  <a:lnTo>
                    <a:pt x="2219" y="828"/>
                  </a:lnTo>
                  <a:lnTo>
                    <a:pt x="2170" y="807"/>
                  </a:lnTo>
                  <a:lnTo>
                    <a:pt x="2191" y="751"/>
                  </a:lnTo>
                  <a:lnTo>
                    <a:pt x="2170" y="730"/>
                  </a:lnTo>
                  <a:lnTo>
                    <a:pt x="2115" y="807"/>
                  </a:lnTo>
                  <a:lnTo>
                    <a:pt x="2031" y="904"/>
                  </a:lnTo>
                  <a:lnTo>
                    <a:pt x="2003" y="904"/>
                  </a:lnTo>
                  <a:lnTo>
                    <a:pt x="2003" y="863"/>
                  </a:lnTo>
                  <a:lnTo>
                    <a:pt x="1968" y="821"/>
                  </a:lnTo>
                  <a:lnTo>
                    <a:pt x="1940" y="821"/>
                  </a:lnTo>
                  <a:lnTo>
                    <a:pt x="1927" y="821"/>
                  </a:lnTo>
                  <a:lnTo>
                    <a:pt x="1899" y="793"/>
                  </a:lnTo>
                  <a:lnTo>
                    <a:pt x="1864" y="786"/>
                  </a:lnTo>
                  <a:lnTo>
                    <a:pt x="1801" y="751"/>
                  </a:lnTo>
                  <a:lnTo>
                    <a:pt x="1767" y="710"/>
                  </a:lnTo>
                  <a:lnTo>
                    <a:pt x="1690" y="696"/>
                  </a:lnTo>
                  <a:lnTo>
                    <a:pt x="1634" y="696"/>
                  </a:lnTo>
                  <a:lnTo>
                    <a:pt x="1579" y="696"/>
                  </a:lnTo>
                  <a:lnTo>
                    <a:pt x="1544" y="724"/>
                  </a:lnTo>
                  <a:lnTo>
                    <a:pt x="1544" y="765"/>
                  </a:lnTo>
                  <a:lnTo>
                    <a:pt x="1544" y="779"/>
                  </a:lnTo>
                  <a:lnTo>
                    <a:pt x="1523" y="779"/>
                  </a:lnTo>
                  <a:lnTo>
                    <a:pt x="1474" y="779"/>
                  </a:lnTo>
                  <a:lnTo>
                    <a:pt x="1474" y="758"/>
                  </a:lnTo>
                  <a:lnTo>
                    <a:pt x="1384" y="696"/>
                  </a:lnTo>
                  <a:lnTo>
                    <a:pt x="1377" y="682"/>
                  </a:lnTo>
                  <a:lnTo>
                    <a:pt x="1377" y="654"/>
                  </a:lnTo>
                  <a:lnTo>
                    <a:pt x="1349" y="626"/>
                  </a:lnTo>
                  <a:lnTo>
                    <a:pt x="1328" y="612"/>
                  </a:lnTo>
                  <a:lnTo>
                    <a:pt x="1335" y="564"/>
                  </a:lnTo>
                  <a:lnTo>
                    <a:pt x="1294" y="536"/>
                  </a:lnTo>
                  <a:lnTo>
                    <a:pt x="1238" y="536"/>
                  </a:lnTo>
                  <a:lnTo>
                    <a:pt x="1203" y="522"/>
                  </a:lnTo>
                  <a:lnTo>
                    <a:pt x="1182" y="494"/>
                  </a:lnTo>
                  <a:lnTo>
                    <a:pt x="1141" y="459"/>
                  </a:lnTo>
                  <a:lnTo>
                    <a:pt x="1099" y="445"/>
                  </a:lnTo>
                  <a:lnTo>
                    <a:pt x="1008" y="403"/>
                  </a:lnTo>
                  <a:lnTo>
                    <a:pt x="939" y="452"/>
                  </a:lnTo>
                  <a:lnTo>
                    <a:pt x="904" y="397"/>
                  </a:lnTo>
                  <a:lnTo>
                    <a:pt x="876" y="369"/>
                  </a:lnTo>
                  <a:lnTo>
                    <a:pt x="848" y="355"/>
                  </a:lnTo>
                  <a:lnTo>
                    <a:pt x="841" y="348"/>
                  </a:lnTo>
                  <a:lnTo>
                    <a:pt x="834" y="334"/>
                  </a:lnTo>
                  <a:lnTo>
                    <a:pt x="786" y="299"/>
                  </a:lnTo>
                  <a:lnTo>
                    <a:pt x="751" y="264"/>
                  </a:lnTo>
                  <a:lnTo>
                    <a:pt x="681" y="271"/>
                  </a:lnTo>
                  <a:lnTo>
                    <a:pt x="647" y="257"/>
                  </a:lnTo>
                  <a:lnTo>
                    <a:pt x="598" y="223"/>
                  </a:lnTo>
                  <a:lnTo>
                    <a:pt x="542" y="195"/>
                  </a:lnTo>
                  <a:lnTo>
                    <a:pt x="493" y="153"/>
                  </a:lnTo>
                  <a:lnTo>
                    <a:pt x="521" y="76"/>
                  </a:lnTo>
                  <a:lnTo>
                    <a:pt x="493" y="63"/>
                  </a:lnTo>
                  <a:lnTo>
                    <a:pt x="466" y="42"/>
                  </a:lnTo>
                  <a:lnTo>
                    <a:pt x="466" y="28"/>
                  </a:lnTo>
                  <a:lnTo>
                    <a:pt x="382" y="0"/>
                  </a:lnTo>
                  <a:lnTo>
                    <a:pt x="347" y="0"/>
                  </a:lnTo>
                  <a:lnTo>
                    <a:pt x="222" y="7"/>
                  </a:lnTo>
                  <a:lnTo>
                    <a:pt x="215" y="42"/>
                  </a:lnTo>
                  <a:lnTo>
                    <a:pt x="118" y="153"/>
                  </a:lnTo>
                  <a:lnTo>
                    <a:pt x="118" y="188"/>
                  </a:lnTo>
                  <a:lnTo>
                    <a:pt x="97" y="188"/>
                  </a:lnTo>
                  <a:lnTo>
                    <a:pt x="90" y="202"/>
                  </a:lnTo>
                  <a:lnTo>
                    <a:pt x="62" y="202"/>
                  </a:lnTo>
                  <a:lnTo>
                    <a:pt x="0" y="230"/>
                  </a:lnTo>
                  <a:lnTo>
                    <a:pt x="34" y="237"/>
                  </a:lnTo>
                  <a:lnTo>
                    <a:pt x="69" y="320"/>
                  </a:lnTo>
                  <a:lnTo>
                    <a:pt x="118" y="348"/>
                  </a:lnTo>
                  <a:lnTo>
                    <a:pt x="160" y="390"/>
                  </a:lnTo>
                  <a:lnTo>
                    <a:pt x="201" y="417"/>
                  </a:lnTo>
                  <a:lnTo>
                    <a:pt x="215" y="417"/>
                  </a:lnTo>
                  <a:lnTo>
                    <a:pt x="222" y="424"/>
                  </a:lnTo>
                  <a:lnTo>
                    <a:pt x="278" y="452"/>
                  </a:lnTo>
                  <a:lnTo>
                    <a:pt x="292" y="536"/>
                  </a:lnTo>
                  <a:lnTo>
                    <a:pt x="313" y="549"/>
                  </a:lnTo>
                  <a:lnTo>
                    <a:pt x="285" y="612"/>
                  </a:lnTo>
                  <a:lnTo>
                    <a:pt x="292" y="647"/>
                  </a:lnTo>
                  <a:lnTo>
                    <a:pt x="326" y="591"/>
                  </a:lnTo>
                  <a:lnTo>
                    <a:pt x="333" y="584"/>
                  </a:lnTo>
                  <a:lnTo>
                    <a:pt x="361" y="577"/>
                  </a:lnTo>
                  <a:lnTo>
                    <a:pt x="389" y="598"/>
                  </a:lnTo>
                  <a:lnTo>
                    <a:pt x="410" y="612"/>
                  </a:lnTo>
                  <a:lnTo>
                    <a:pt x="396" y="612"/>
                  </a:lnTo>
                  <a:lnTo>
                    <a:pt x="347" y="661"/>
                  </a:lnTo>
                  <a:lnTo>
                    <a:pt x="347" y="682"/>
                  </a:lnTo>
                  <a:lnTo>
                    <a:pt x="396" y="675"/>
                  </a:lnTo>
                  <a:lnTo>
                    <a:pt x="452" y="675"/>
                  </a:lnTo>
                  <a:lnTo>
                    <a:pt x="480" y="689"/>
                  </a:lnTo>
                  <a:lnTo>
                    <a:pt x="487" y="765"/>
                  </a:lnTo>
                  <a:lnTo>
                    <a:pt x="507" y="793"/>
                  </a:lnTo>
                  <a:lnTo>
                    <a:pt x="487" y="828"/>
                  </a:lnTo>
                  <a:lnTo>
                    <a:pt x="507" y="842"/>
                  </a:lnTo>
                  <a:lnTo>
                    <a:pt x="542" y="779"/>
                  </a:lnTo>
                  <a:lnTo>
                    <a:pt x="591" y="786"/>
                  </a:lnTo>
                  <a:lnTo>
                    <a:pt x="626" y="821"/>
                  </a:lnTo>
                  <a:lnTo>
                    <a:pt x="626" y="849"/>
                  </a:lnTo>
                  <a:lnTo>
                    <a:pt x="563" y="904"/>
                  </a:lnTo>
                  <a:lnTo>
                    <a:pt x="549" y="939"/>
                  </a:lnTo>
                  <a:lnTo>
                    <a:pt x="549" y="946"/>
                  </a:lnTo>
                  <a:lnTo>
                    <a:pt x="619" y="974"/>
                  </a:lnTo>
                  <a:lnTo>
                    <a:pt x="744" y="1078"/>
                  </a:lnTo>
                  <a:lnTo>
                    <a:pt x="751" y="1092"/>
                  </a:lnTo>
                  <a:lnTo>
                    <a:pt x="814" y="1169"/>
                  </a:lnTo>
                  <a:lnTo>
                    <a:pt x="869" y="1238"/>
                  </a:lnTo>
                  <a:lnTo>
                    <a:pt x="890" y="1287"/>
                  </a:lnTo>
                  <a:lnTo>
                    <a:pt x="918" y="1343"/>
                  </a:lnTo>
                  <a:lnTo>
                    <a:pt x="946" y="1447"/>
                  </a:lnTo>
                  <a:lnTo>
                    <a:pt x="953" y="1516"/>
                  </a:lnTo>
                  <a:lnTo>
                    <a:pt x="966" y="1579"/>
                  </a:lnTo>
                  <a:lnTo>
                    <a:pt x="981" y="1725"/>
                  </a:lnTo>
                  <a:lnTo>
                    <a:pt x="966" y="1739"/>
                  </a:lnTo>
                  <a:lnTo>
                    <a:pt x="1008" y="1962"/>
                  </a:lnTo>
                  <a:lnTo>
                    <a:pt x="1008" y="2010"/>
                  </a:lnTo>
                  <a:lnTo>
                    <a:pt x="1015" y="2066"/>
                  </a:lnTo>
                  <a:lnTo>
                    <a:pt x="1043" y="2136"/>
                  </a:lnTo>
                  <a:lnTo>
                    <a:pt x="1064" y="2191"/>
                  </a:lnTo>
                  <a:lnTo>
                    <a:pt x="1099" y="2219"/>
                  </a:lnTo>
                  <a:lnTo>
                    <a:pt x="1141" y="2254"/>
                  </a:lnTo>
                  <a:lnTo>
                    <a:pt x="1182" y="2337"/>
                  </a:lnTo>
                  <a:lnTo>
                    <a:pt x="1196" y="2351"/>
                  </a:lnTo>
                  <a:lnTo>
                    <a:pt x="1217" y="2365"/>
                  </a:lnTo>
                  <a:lnTo>
                    <a:pt x="1273" y="2497"/>
                  </a:lnTo>
                  <a:lnTo>
                    <a:pt x="1280" y="2532"/>
                  </a:lnTo>
                  <a:lnTo>
                    <a:pt x="1335" y="2588"/>
                  </a:lnTo>
                  <a:lnTo>
                    <a:pt x="1363" y="2630"/>
                  </a:lnTo>
                  <a:lnTo>
                    <a:pt x="1384" y="2720"/>
                  </a:lnTo>
                  <a:lnTo>
                    <a:pt x="1405" y="2984"/>
                  </a:lnTo>
                  <a:lnTo>
                    <a:pt x="1370" y="3193"/>
                  </a:lnTo>
                  <a:lnTo>
                    <a:pt x="1363" y="3193"/>
                  </a:lnTo>
                  <a:lnTo>
                    <a:pt x="1363" y="3235"/>
                  </a:lnTo>
                  <a:lnTo>
                    <a:pt x="1328" y="3249"/>
                  </a:lnTo>
                  <a:lnTo>
                    <a:pt x="1314" y="3290"/>
                  </a:lnTo>
                  <a:lnTo>
                    <a:pt x="1342" y="3381"/>
                  </a:lnTo>
                  <a:lnTo>
                    <a:pt x="1370" y="3388"/>
                  </a:lnTo>
                  <a:lnTo>
                    <a:pt x="1405" y="3409"/>
                  </a:lnTo>
                  <a:lnTo>
                    <a:pt x="1405" y="3367"/>
                  </a:lnTo>
                  <a:lnTo>
                    <a:pt x="1447" y="3339"/>
                  </a:lnTo>
                  <a:lnTo>
                    <a:pt x="1600" y="3339"/>
                  </a:lnTo>
                  <a:lnTo>
                    <a:pt x="1739" y="3388"/>
                  </a:lnTo>
                  <a:lnTo>
                    <a:pt x="1787" y="3423"/>
                  </a:lnTo>
                  <a:lnTo>
                    <a:pt x="1801" y="3485"/>
                  </a:lnTo>
                  <a:lnTo>
                    <a:pt x="1787" y="3541"/>
                  </a:lnTo>
                  <a:lnTo>
                    <a:pt x="1794" y="3576"/>
                  </a:lnTo>
                  <a:lnTo>
                    <a:pt x="1773" y="3638"/>
                  </a:lnTo>
                  <a:lnTo>
                    <a:pt x="1739" y="3652"/>
                  </a:lnTo>
                  <a:lnTo>
                    <a:pt x="1711" y="3666"/>
                  </a:lnTo>
                  <a:lnTo>
                    <a:pt x="1822" y="3729"/>
                  </a:lnTo>
                  <a:lnTo>
                    <a:pt x="1989" y="3763"/>
                  </a:lnTo>
                  <a:lnTo>
                    <a:pt x="2121" y="3833"/>
                  </a:lnTo>
                  <a:lnTo>
                    <a:pt x="2163" y="3930"/>
                  </a:lnTo>
                  <a:lnTo>
                    <a:pt x="2184" y="3993"/>
                  </a:lnTo>
                  <a:lnTo>
                    <a:pt x="2309" y="4042"/>
                  </a:lnTo>
                  <a:lnTo>
                    <a:pt x="2295" y="4070"/>
                  </a:lnTo>
                  <a:lnTo>
                    <a:pt x="2330" y="4111"/>
                  </a:lnTo>
                  <a:lnTo>
                    <a:pt x="2358" y="4188"/>
                  </a:lnTo>
                  <a:lnTo>
                    <a:pt x="2386" y="4202"/>
                  </a:lnTo>
                  <a:lnTo>
                    <a:pt x="2421" y="4188"/>
                  </a:lnTo>
                  <a:lnTo>
                    <a:pt x="2476" y="4292"/>
                  </a:lnTo>
                  <a:lnTo>
                    <a:pt x="2462" y="4424"/>
                  </a:lnTo>
                  <a:lnTo>
                    <a:pt x="2421" y="4466"/>
                  </a:lnTo>
                  <a:lnTo>
                    <a:pt x="2379" y="4459"/>
                  </a:lnTo>
                  <a:lnTo>
                    <a:pt x="2330" y="4438"/>
                  </a:lnTo>
                  <a:lnTo>
                    <a:pt x="2316" y="4487"/>
                  </a:lnTo>
                  <a:lnTo>
                    <a:pt x="2316" y="4515"/>
                  </a:lnTo>
                  <a:lnTo>
                    <a:pt x="2323" y="4556"/>
                  </a:lnTo>
                  <a:lnTo>
                    <a:pt x="2393" y="4591"/>
                  </a:lnTo>
                  <a:lnTo>
                    <a:pt x="2413" y="4626"/>
                  </a:lnTo>
                  <a:lnTo>
                    <a:pt x="2427" y="4619"/>
                  </a:lnTo>
                  <a:lnTo>
                    <a:pt x="2476" y="4626"/>
                  </a:lnTo>
                  <a:lnTo>
                    <a:pt x="2476" y="4612"/>
                  </a:lnTo>
                  <a:lnTo>
                    <a:pt x="2511" y="4570"/>
                  </a:lnTo>
                  <a:lnTo>
                    <a:pt x="2497" y="4556"/>
                  </a:lnTo>
                  <a:lnTo>
                    <a:pt x="2497" y="4536"/>
                  </a:lnTo>
                  <a:lnTo>
                    <a:pt x="2518" y="4522"/>
                  </a:lnTo>
                  <a:lnTo>
                    <a:pt x="2615" y="4501"/>
                  </a:lnTo>
                  <a:lnTo>
                    <a:pt x="2643" y="4536"/>
                  </a:lnTo>
                  <a:lnTo>
                    <a:pt x="2685" y="4529"/>
                  </a:lnTo>
                  <a:lnTo>
                    <a:pt x="2907" y="4591"/>
                  </a:lnTo>
                  <a:lnTo>
                    <a:pt x="2914" y="4536"/>
                  </a:lnTo>
                  <a:lnTo>
                    <a:pt x="2956" y="4494"/>
                  </a:lnTo>
                  <a:lnTo>
                    <a:pt x="2970" y="4459"/>
                  </a:lnTo>
                  <a:lnTo>
                    <a:pt x="3019" y="4466"/>
                  </a:lnTo>
                  <a:lnTo>
                    <a:pt x="3068" y="4459"/>
                  </a:lnTo>
                  <a:lnTo>
                    <a:pt x="3179" y="4466"/>
                  </a:lnTo>
                  <a:lnTo>
                    <a:pt x="3179" y="4355"/>
                  </a:lnTo>
                  <a:lnTo>
                    <a:pt x="3130" y="4327"/>
                  </a:lnTo>
                  <a:lnTo>
                    <a:pt x="3109" y="4299"/>
                  </a:lnTo>
                  <a:lnTo>
                    <a:pt x="3095" y="4285"/>
                  </a:lnTo>
                  <a:lnTo>
                    <a:pt x="3130" y="4230"/>
                  </a:lnTo>
                  <a:lnTo>
                    <a:pt x="3130" y="4222"/>
                  </a:lnTo>
                  <a:lnTo>
                    <a:pt x="3116" y="4188"/>
                  </a:lnTo>
                  <a:lnTo>
                    <a:pt x="3151" y="4174"/>
                  </a:lnTo>
                  <a:lnTo>
                    <a:pt x="3179" y="4195"/>
                  </a:lnTo>
                  <a:lnTo>
                    <a:pt x="3207" y="4174"/>
                  </a:lnTo>
                  <a:lnTo>
                    <a:pt x="3234" y="4174"/>
                  </a:lnTo>
                  <a:lnTo>
                    <a:pt x="3262" y="4160"/>
                  </a:lnTo>
                  <a:lnTo>
                    <a:pt x="3297" y="4132"/>
                  </a:lnTo>
                  <a:lnTo>
                    <a:pt x="3283" y="4111"/>
                  </a:lnTo>
                  <a:lnTo>
                    <a:pt x="3339" y="4090"/>
                  </a:lnTo>
                  <a:lnTo>
                    <a:pt x="3374" y="4090"/>
                  </a:lnTo>
                  <a:lnTo>
                    <a:pt x="3401" y="4035"/>
                  </a:lnTo>
                  <a:lnTo>
                    <a:pt x="3408" y="4021"/>
                  </a:lnTo>
                  <a:lnTo>
                    <a:pt x="3457" y="4035"/>
                  </a:lnTo>
                  <a:lnTo>
                    <a:pt x="3478" y="4021"/>
                  </a:lnTo>
                  <a:lnTo>
                    <a:pt x="3492" y="4007"/>
                  </a:lnTo>
                  <a:lnTo>
                    <a:pt x="3492" y="3958"/>
                  </a:lnTo>
                  <a:lnTo>
                    <a:pt x="3457" y="3937"/>
                  </a:lnTo>
                  <a:lnTo>
                    <a:pt x="3443" y="3868"/>
                  </a:lnTo>
                  <a:lnTo>
                    <a:pt x="3478" y="3868"/>
                  </a:lnTo>
                  <a:lnTo>
                    <a:pt x="3499" y="3812"/>
                  </a:lnTo>
                  <a:lnTo>
                    <a:pt x="3513" y="3791"/>
                  </a:lnTo>
                  <a:lnTo>
                    <a:pt x="3457" y="3763"/>
                  </a:lnTo>
                  <a:lnTo>
                    <a:pt x="3457" y="3743"/>
                  </a:lnTo>
                  <a:lnTo>
                    <a:pt x="3422" y="3715"/>
                  </a:lnTo>
                  <a:lnTo>
                    <a:pt x="3394" y="3701"/>
                  </a:lnTo>
                  <a:lnTo>
                    <a:pt x="3429" y="3631"/>
                  </a:lnTo>
                  <a:lnTo>
                    <a:pt x="3443" y="3617"/>
                  </a:lnTo>
                  <a:lnTo>
                    <a:pt x="3492" y="3680"/>
                  </a:lnTo>
                  <a:lnTo>
                    <a:pt x="3499" y="3652"/>
                  </a:lnTo>
                  <a:lnTo>
                    <a:pt x="3513" y="3610"/>
                  </a:lnTo>
                  <a:lnTo>
                    <a:pt x="3568" y="3582"/>
                  </a:lnTo>
                  <a:lnTo>
                    <a:pt x="3638" y="3597"/>
                  </a:lnTo>
                  <a:lnTo>
                    <a:pt x="3631" y="3576"/>
                  </a:lnTo>
                  <a:lnTo>
                    <a:pt x="3652" y="3569"/>
                  </a:lnTo>
                  <a:lnTo>
                    <a:pt x="3700" y="3513"/>
                  </a:lnTo>
                  <a:lnTo>
                    <a:pt x="3742" y="3520"/>
                  </a:lnTo>
                  <a:lnTo>
                    <a:pt x="3742" y="3506"/>
                  </a:lnTo>
                  <a:lnTo>
                    <a:pt x="3742" y="3471"/>
                  </a:lnTo>
                  <a:lnTo>
                    <a:pt x="3728" y="3443"/>
                  </a:lnTo>
                  <a:lnTo>
                    <a:pt x="3700" y="3436"/>
                  </a:lnTo>
                  <a:lnTo>
                    <a:pt x="3728" y="3353"/>
                  </a:lnTo>
                  <a:lnTo>
                    <a:pt x="3728" y="3276"/>
                  </a:lnTo>
                  <a:lnTo>
                    <a:pt x="3756" y="3193"/>
                  </a:lnTo>
                  <a:lnTo>
                    <a:pt x="3763" y="3186"/>
                  </a:lnTo>
                  <a:lnTo>
                    <a:pt x="3784" y="3109"/>
                  </a:lnTo>
                  <a:lnTo>
                    <a:pt x="3735" y="3082"/>
                  </a:lnTo>
                  <a:lnTo>
                    <a:pt x="3708" y="3109"/>
                  </a:lnTo>
                  <a:lnTo>
                    <a:pt x="3687" y="3061"/>
                  </a:lnTo>
                  <a:lnTo>
                    <a:pt x="3693" y="3040"/>
                  </a:lnTo>
                  <a:lnTo>
                    <a:pt x="3673" y="2957"/>
                  </a:lnTo>
                  <a:lnTo>
                    <a:pt x="3687" y="2915"/>
                  </a:lnTo>
                  <a:lnTo>
                    <a:pt x="3742" y="2859"/>
                  </a:lnTo>
                  <a:lnTo>
                    <a:pt x="3805" y="2831"/>
                  </a:lnTo>
                  <a:lnTo>
                    <a:pt x="3840" y="2824"/>
                  </a:lnTo>
                  <a:lnTo>
                    <a:pt x="3881" y="2720"/>
                  </a:lnTo>
                  <a:lnTo>
                    <a:pt x="3881" y="2685"/>
                  </a:lnTo>
                  <a:lnTo>
                    <a:pt x="3902" y="2685"/>
                  </a:lnTo>
                  <a:lnTo>
                    <a:pt x="3965" y="2713"/>
                  </a:lnTo>
                  <a:lnTo>
                    <a:pt x="4021" y="2678"/>
                  </a:lnTo>
                  <a:lnTo>
                    <a:pt x="4062" y="2664"/>
                  </a:lnTo>
                  <a:lnTo>
                    <a:pt x="4146" y="2616"/>
                  </a:lnTo>
                  <a:lnTo>
                    <a:pt x="4153" y="2616"/>
                  </a:lnTo>
                  <a:lnTo>
                    <a:pt x="4181" y="2588"/>
                  </a:lnTo>
                  <a:lnTo>
                    <a:pt x="4132" y="2546"/>
                  </a:lnTo>
                  <a:lnTo>
                    <a:pt x="4118" y="2567"/>
                  </a:lnTo>
                  <a:lnTo>
                    <a:pt x="4097" y="2616"/>
                  </a:lnTo>
                  <a:lnTo>
                    <a:pt x="4035" y="2588"/>
                  </a:lnTo>
                  <a:lnTo>
                    <a:pt x="4021" y="2553"/>
                  </a:lnTo>
                  <a:lnTo>
                    <a:pt x="4035" y="2483"/>
                  </a:lnTo>
                  <a:lnTo>
                    <a:pt x="3986" y="2421"/>
                  </a:lnTo>
                  <a:lnTo>
                    <a:pt x="3937" y="2428"/>
                  </a:lnTo>
                  <a:lnTo>
                    <a:pt x="3930" y="2351"/>
                  </a:lnTo>
                  <a:lnTo>
                    <a:pt x="3916" y="2351"/>
                  </a:lnTo>
                  <a:lnTo>
                    <a:pt x="3860" y="2351"/>
                  </a:lnTo>
                  <a:lnTo>
                    <a:pt x="3854" y="2323"/>
                  </a:lnTo>
                  <a:lnTo>
                    <a:pt x="3902" y="2275"/>
                  </a:lnTo>
                  <a:lnTo>
                    <a:pt x="3958" y="2268"/>
                  </a:lnTo>
                  <a:lnTo>
                    <a:pt x="3972" y="2240"/>
                  </a:lnTo>
                  <a:lnTo>
                    <a:pt x="4027" y="2198"/>
                  </a:lnTo>
                  <a:lnTo>
                    <a:pt x="4048" y="2198"/>
                  </a:lnTo>
                  <a:lnTo>
                    <a:pt x="4048" y="2184"/>
                  </a:lnTo>
                  <a:lnTo>
                    <a:pt x="4027" y="2163"/>
                  </a:lnTo>
                  <a:lnTo>
                    <a:pt x="3958" y="2122"/>
                  </a:lnTo>
                  <a:lnTo>
                    <a:pt x="3986" y="2066"/>
                  </a:lnTo>
                  <a:lnTo>
                    <a:pt x="4048" y="2066"/>
                  </a:lnTo>
                  <a:lnTo>
                    <a:pt x="4062" y="2073"/>
                  </a:lnTo>
                  <a:lnTo>
                    <a:pt x="4090" y="1990"/>
                  </a:lnTo>
                  <a:lnTo>
                    <a:pt x="4160" y="1892"/>
                  </a:lnTo>
                  <a:lnTo>
                    <a:pt x="4118" y="1829"/>
                  </a:lnTo>
                  <a:lnTo>
                    <a:pt x="4132" y="1823"/>
                  </a:lnTo>
                  <a:lnTo>
                    <a:pt x="4160" y="1809"/>
                  </a:lnTo>
                  <a:lnTo>
                    <a:pt x="4215" y="1774"/>
                  </a:lnTo>
                  <a:lnTo>
                    <a:pt x="4215" y="1732"/>
                  </a:lnTo>
                  <a:lnTo>
                    <a:pt x="4285" y="1739"/>
                  </a:lnTo>
                  <a:lnTo>
                    <a:pt x="4313" y="1697"/>
                  </a:lnTo>
                  <a:lnTo>
                    <a:pt x="4327" y="1697"/>
                  </a:lnTo>
                  <a:lnTo>
                    <a:pt x="4327" y="1739"/>
                  </a:lnTo>
                  <a:lnTo>
                    <a:pt x="4361" y="1739"/>
                  </a:lnTo>
                  <a:lnTo>
                    <a:pt x="4361" y="1677"/>
                  </a:lnTo>
                  <a:lnTo>
                    <a:pt x="4389" y="1683"/>
                  </a:lnTo>
                  <a:lnTo>
                    <a:pt x="4424" y="1677"/>
                  </a:lnTo>
                  <a:lnTo>
                    <a:pt x="4361" y="1614"/>
                  </a:lnTo>
                  <a:lnTo>
                    <a:pt x="4354" y="1600"/>
                  </a:lnTo>
                  <a:lnTo>
                    <a:pt x="4313" y="1572"/>
                  </a:lnTo>
                  <a:lnTo>
                    <a:pt x="4278" y="1551"/>
                  </a:lnTo>
                  <a:lnTo>
                    <a:pt x="4229" y="1565"/>
                  </a:lnTo>
                  <a:lnTo>
                    <a:pt x="4229" y="1579"/>
                  </a:lnTo>
                  <a:lnTo>
                    <a:pt x="4167" y="1572"/>
                  </a:lnTo>
                  <a:lnTo>
                    <a:pt x="4132" y="1600"/>
                  </a:lnTo>
                  <a:lnTo>
                    <a:pt x="4125" y="1628"/>
                  </a:lnTo>
                  <a:lnTo>
                    <a:pt x="4083" y="1565"/>
                  </a:lnTo>
                  <a:lnTo>
                    <a:pt x="4035" y="1579"/>
                  </a:lnTo>
                  <a:lnTo>
                    <a:pt x="3986" y="1579"/>
                  </a:lnTo>
                  <a:lnTo>
                    <a:pt x="3930" y="1607"/>
                  </a:lnTo>
                  <a:lnTo>
                    <a:pt x="3916" y="1593"/>
                  </a:lnTo>
                  <a:lnTo>
                    <a:pt x="3881" y="1572"/>
                  </a:lnTo>
                  <a:lnTo>
                    <a:pt x="3833" y="1565"/>
                  </a:lnTo>
                  <a:lnTo>
                    <a:pt x="3791" y="1565"/>
                  </a:lnTo>
                  <a:lnTo>
                    <a:pt x="3728" y="1510"/>
                  </a:lnTo>
                  <a:lnTo>
                    <a:pt x="3673" y="1482"/>
                  </a:lnTo>
                  <a:lnTo>
                    <a:pt x="3673" y="1454"/>
                  </a:lnTo>
                  <a:lnTo>
                    <a:pt x="3652" y="1454"/>
                  </a:lnTo>
                  <a:lnTo>
                    <a:pt x="3603" y="1447"/>
                  </a:lnTo>
                  <a:lnTo>
                    <a:pt x="3561" y="1454"/>
                  </a:lnTo>
                  <a:lnTo>
                    <a:pt x="3554" y="1454"/>
                  </a:lnTo>
                  <a:lnTo>
                    <a:pt x="3499" y="1412"/>
                  </a:lnTo>
                  <a:lnTo>
                    <a:pt x="3464" y="1377"/>
                  </a:lnTo>
                  <a:lnTo>
                    <a:pt x="3422" y="1364"/>
                  </a:lnTo>
                  <a:lnTo>
                    <a:pt x="3339" y="1308"/>
                  </a:lnTo>
                  <a:lnTo>
                    <a:pt x="3339" y="1252"/>
                  </a:lnTo>
                  <a:lnTo>
                    <a:pt x="3339" y="1210"/>
                  </a:lnTo>
                  <a:lnTo>
                    <a:pt x="3283" y="1176"/>
                  </a:lnTo>
                  <a:lnTo>
                    <a:pt x="3304" y="1141"/>
                  </a:lnTo>
                  <a:lnTo>
                    <a:pt x="3248" y="1092"/>
                  </a:lnTo>
                  <a:lnTo>
                    <a:pt x="3228" y="1050"/>
                  </a:lnTo>
                  <a:lnTo>
                    <a:pt x="3234" y="1037"/>
                  </a:lnTo>
                  <a:lnTo>
                    <a:pt x="3248" y="1037"/>
                  </a:lnTo>
                  <a:lnTo>
                    <a:pt x="3241" y="995"/>
                  </a:lnTo>
                  <a:lnTo>
                    <a:pt x="3283" y="988"/>
                  </a:lnTo>
                  <a:lnTo>
                    <a:pt x="3311" y="939"/>
                  </a:lnTo>
                  <a:lnTo>
                    <a:pt x="3367" y="856"/>
                  </a:lnTo>
                  <a:lnTo>
                    <a:pt x="3401" y="786"/>
                  </a:lnTo>
                  <a:lnTo>
                    <a:pt x="3401" y="779"/>
                  </a:lnTo>
                  <a:lnTo>
                    <a:pt x="3394" y="765"/>
                  </a:lnTo>
                  <a:lnTo>
                    <a:pt x="3339" y="765"/>
                  </a:lnTo>
                  <a:lnTo>
                    <a:pt x="3297" y="765"/>
                  </a:lnTo>
                  <a:lnTo>
                    <a:pt x="3248" y="807"/>
                  </a:lnTo>
                  <a:lnTo>
                    <a:pt x="3228" y="814"/>
                  </a:lnTo>
                  <a:lnTo>
                    <a:pt x="3179" y="779"/>
                  </a:lnTo>
                  <a:lnTo>
                    <a:pt x="3130" y="793"/>
                  </a:lnTo>
                  <a:lnTo>
                    <a:pt x="3130" y="786"/>
                  </a:lnTo>
                  <a:lnTo>
                    <a:pt x="3151" y="751"/>
                  </a:lnTo>
                  <a:lnTo>
                    <a:pt x="3179" y="724"/>
                  </a:lnTo>
                  <a:lnTo>
                    <a:pt x="3172" y="696"/>
                  </a:lnTo>
                  <a:lnTo>
                    <a:pt x="3165" y="689"/>
                  </a:lnTo>
                  <a:lnTo>
                    <a:pt x="3081" y="675"/>
                  </a:lnTo>
                  <a:lnTo>
                    <a:pt x="3068" y="696"/>
                  </a:lnTo>
                  <a:lnTo>
                    <a:pt x="3033" y="689"/>
                  </a:lnTo>
                  <a:lnTo>
                    <a:pt x="3019" y="696"/>
                  </a:lnTo>
                  <a:lnTo>
                    <a:pt x="3005" y="682"/>
                  </a:lnTo>
                  <a:lnTo>
                    <a:pt x="2970" y="647"/>
                  </a:lnTo>
                  <a:lnTo>
                    <a:pt x="2921" y="619"/>
                  </a:lnTo>
                  <a:lnTo>
                    <a:pt x="2907" y="612"/>
                  </a:lnTo>
                  <a:lnTo>
                    <a:pt x="2914" y="577"/>
                  </a:lnTo>
                  <a:lnTo>
                    <a:pt x="2866" y="522"/>
                  </a:lnTo>
                  <a:lnTo>
                    <a:pt x="2803" y="577"/>
                  </a:lnTo>
                  <a:lnTo>
                    <a:pt x="2803" y="591"/>
                  </a:lnTo>
                  <a:lnTo>
                    <a:pt x="2768" y="591"/>
                  </a:lnTo>
                  <a:lnTo>
                    <a:pt x="2713" y="598"/>
                  </a:lnTo>
                  <a:lnTo>
                    <a:pt x="2692" y="633"/>
                  </a:lnTo>
                  <a:lnTo>
                    <a:pt x="2650" y="661"/>
                  </a:lnTo>
                  <a:lnTo>
                    <a:pt x="2629" y="689"/>
                  </a:lnTo>
                  <a:lnTo>
                    <a:pt x="2615" y="689"/>
                  </a:lnTo>
                  <a:lnTo>
                    <a:pt x="2490" y="710"/>
                  </a:lnTo>
                  <a:lnTo>
                    <a:pt x="2518" y="751"/>
                  </a:lnTo>
                  <a:lnTo>
                    <a:pt x="2594" y="793"/>
                  </a:lnTo>
                  <a:lnTo>
                    <a:pt x="2594" y="814"/>
                  </a:lnTo>
                  <a:lnTo>
                    <a:pt x="2574" y="821"/>
                  </a:lnTo>
                  <a:lnTo>
                    <a:pt x="2490" y="8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6" name="Freeform 75"/>
            <p:cNvSpPr>
              <a:spLocks noChangeArrowheads="1"/>
            </p:cNvSpPr>
            <p:nvPr/>
          </p:nvSpPr>
          <p:spPr bwMode="auto">
            <a:xfrm>
              <a:off x="15743696" y="6871116"/>
              <a:ext cx="258888" cy="163628"/>
            </a:xfrm>
            <a:custGeom>
              <a:avLst/>
              <a:gdLst>
                <a:gd name="T0" fmla="*/ 425 w 551"/>
                <a:gd name="T1" fmla="*/ 132 h 349"/>
                <a:gd name="T2" fmla="*/ 411 w 551"/>
                <a:gd name="T3" fmla="*/ 160 h 349"/>
                <a:gd name="T4" fmla="*/ 348 w 551"/>
                <a:gd name="T5" fmla="*/ 132 h 349"/>
                <a:gd name="T6" fmla="*/ 376 w 551"/>
                <a:gd name="T7" fmla="*/ 118 h 349"/>
                <a:gd name="T8" fmla="*/ 265 w 551"/>
                <a:gd name="T9" fmla="*/ 97 h 349"/>
                <a:gd name="T10" fmla="*/ 258 w 551"/>
                <a:gd name="T11" fmla="*/ 97 h 349"/>
                <a:gd name="T12" fmla="*/ 278 w 551"/>
                <a:gd name="T13" fmla="*/ 118 h 349"/>
                <a:gd name="T14" fmla="*/ 265 w 551"/>
                <a:gd name="T15" fmla="*/ 139 h 349"/>
                <a:gd name="T16" fmla="*/ 265 w 551"/>
                <a:gd name="T17" fmla="*/ 153 h 349"/>
                <a:gd name="T18" fmla="*/ 258 w 551"/>
                <a:gd name="T19" fmla="*/ 160 h 349"/>
                <a:gd name="T20" fmla="*/ 237 w 551"/>
                <a:gd name="T21" fmla="*/ 160 h 349"/>
                <a:gd name="T22" fmla="*/ 237 w 551"/>
                <a:gd name="T23" fmla="*/ 181 h 349"/>
                <a:gd name="T24" fmla="*/ 202 w 551"/>
                <a:gd name="T25" fmla="*/ 181 h 349"/>
                <a:gd name="T26" fmla="*/ 153 w 551"/>
                <a:gd name="T27" fmla="*/ 132 h 349"/>
                <a:gd name="T28" fmla="*/ 105 w 551"/>
                <a:gd name="T29" fmla="*/ 139 h 349"/>
                <a:gd name="T30" fmla="*/ 63 w 551"/>
                <a:gd name="T31" fmla="*/ 139 h 349"/>
                <a:gd name="T32" fmla="*/ 21 w 551"/>
                <a:gd name="T33" fmla="*/ 167 h 349"/>
                <a:gd name="T34" fmla="*/ 0 w 551"/>
                <a:gd name="T35" fmla="*/ 216 h 349"/>
                <a:gd name="T36" fmla="*/ 28 w 551"/>
                <a:gd name="T37" fmla="*/ 278 h 349"/>
                <a:gd name="T38" fmla="*/ 28 w 551"/>
                <a:gd name="T39" fmla="*/ 285 h 349"/>
                <a:gd name="T40" fmla="*/ 91 w 551"/>
                <a:gd name="T41" fmla="*/ 320 h 349"/>
                <a:gd name="T42" fmla="*/ 91 w 551"/>
                <a:gd name="T43" fmla="*/ 313 h 349"/>
                <a:gd name="T44" fmla="*/ 132 w 551"/>
                <a:gd name="T45" fmla="*/ 292 h 349"/>
                <a:gd name="T46" fmla="*/ 223 w 551"/>
                <a:gd name="T47" fmla="*/ 320 h 349"/>
                <a:gd name="T48" fmla="*/ 216 w 551"/>
                <a:gd name="T49" fmla="*/ 278 h 349"/>
                <a:gd name="T50" fmla="*/ 265 w 551"/>
                <a:gd name="T51" fmla="*/ 278 h 349"/>
                <a:gd name="T52" fmla="*/ 286 w 551"/>
                <a:gd name="T53" fmla="*/ 292 h 349"/>
                <a:gd name="T54" fmla="*/ 299 w 551"/>
                <a:gd name="T55" fmla="*/ 285 h 349"/>
                <a:gd name="T56" fmla="*/ 320 w 551"/>
                <a:gd name="T57" fmla="*/ 250 h 349"/>
                <a:gd name="T58" fmla="*/ 348 w 551"/>
                <a:gd name="T59" fmla="*/ 257 h 349"/>
                <a:gd name="T60" fmla="*/ 355 w 551"/>
                <a:gd name="T61" fmla="*/ 292 h 349"/>
                <a:gd name="T62" fmla="*/ 362 w 551"/>
                <a:gd name="T63" fmla="*/ 236 h 349"/>
                <a:gd name="T64" fmla="*/ 418 w 551"/>
                <a:gd name="T65" fmla="*/ 250 h 349"/>
                <a:gd name="T66" fmla="*/ 432 w 551"/>
                <a:gd name="T67" fmla="*/ 313 h 349"/>
                <a:gd name="T68" fmla="*/ 466 w 551"/>
                <a:gd name="T69" fmla="*/ 348 h 349"/>
                <a:gd name="T70" fmla="*/ 487 w 551"/>
                <a:gd name="T71" fmla="*/ 348 h 349"/>
                <a:gd name="T72" fmla="*/ 515 w 551"/>
                <a:gd name="T73" fmla="*/ 348 h 349"/>
                <a:gd name="T74" fmla="*/ 529 w 551"/>
                <a:gd name="T75" fmla="*/ 348 h 349"/>
                <a:gd name="T76" fmla="*/ 543 w 551"/>
                <a:gd name="T77" fmla="*/ 299 h 349"/>
                <a:gd name="T78" fmla="*/ 494 w 551"/>
                <a:gd name="T79" fmla="*/ 264 h 349"/>
                <a:gd name="T80" fmla="*/ 494 w 551"/>
                <a:gd name="T81" fmla="*/ 250 h 349"/>
                <a:gd name="T82" fmla="*/ 466 w 551"/>
                <a:gd name="T83" fmla="*/ 236 h 349"/>
                <a:gd name="T84" fmla="*/ 494 w 551"/>
                <a:gd name="T85" fmla="*/ 230 h 349"/>
                <a:gd name="T86" fmla="*/ 522 w 551"/>
                <a:gd name="T87" fmla="*/ 216 h 349"/>
                <a:gd name="T88" fmla="*/ 550 w 551"/>
                <a:gd name="T89" fmla="*/ 195 h 349"/>
                <a:gd name="T90" fmla="*/ 550 w 551"/>
                <a:gd name="T91" fmla="*/ 160 h 349"/>
                <a:gd name="T92" fmla="*/ 543 w 551"/>
                <a:gd name="T93" fmla="*/ 97 h 349"/>
                <a:gd name="T94" fmla="*/ 550 w 551"/>
                <a:gd name="T95" fmla="*/ 49 h 349"/>
                <a:gd name="T96" fmla="*/ 522 w 551"/>
                <a:gd name="T97" fmla="*/ 7 h 349"/>
                <a:gd name="T98" fmla="*/ 494 w 551"/>
                <a:gd name="T99" fmla="*/ 0 h 349"/>
                <a:gd name="T100" fmla="*/ 466 w 551"/>
                <a:gd name="T101" fmla="*/ 56 h 349"/>
                <a:gd name="T102" fmla="*/ 459 w 551"/>
                <a:gd name="T103" fmla="*/ 84 h 349"/>
                <a:gd name="T104" fmla="*/ 425 w 551"/>
                <a:gd name="T105" fmla="*/ 118 h 349"/>
                <a:gd name="T106" fmla="*/ 425 w 551"/>
                <a:gd name="T107" fmla="*/ 13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51" h="349">
                  <a:moveTo>
                    <a:pt x="425" y="132"/>
                  </a:moveTo>
                  <a:lnTo>
                    <a:pt x="411" y="160"/>
                  </a:lnTo>
                  <a:lnTo>
                    <a:pt x="348" y="132"/>
                  </a:lnTo>
                  <a:lnTo>
                    <a:pt x="376" y="118"/>
                  </a:lnTo>
                  <a:lnTo>
                    <a:pt x="265" y="97"/>
                  </a:lnTo>
                  <a:lnTo>
                    <a:pt x="258" y="97"/>
                  </a:lnTo>
                  <a:lnTo>
                    <a:pt x="278" y="118"/>
                  </a:lnTo>
                  <a:lnTo>
                    <a:pt x="265" y="139"/>
                  </a:lnTo>
                  <a:lnTo>
                    <a:pt x="265" y="153"/>
                  </a:lnTo>
                  <a:lnTo>
                    <a:pt x="258" y="160"/>
                  </a:lnTo>
                  <a:lnTo>
                    <a:pt x="237" y="160"/>
                  </a:lnTo>
                  <a:lnTo>
                    <a:pt x="237" y="181"/>
                  </a:lnTo>
                  <a:lnTo>
                    <a:pt x="202" y="181"/>
                  </a:lnTo>
                  <a:lnTo>
                    <a:pt x="153" y="132"/>
                  </a:lnTo>
                  <a:lnTo>
                    <a:pt x="105" y="139"/>
                  </a:lnTo>
                  <a:lnTo>
                    <a:pt x="63" y="139"/>
                  </a:lnTo>
                  <a:lnTo>
                    <a:pt x="21" y="167"/>
                  </a:lnTo>
                  <a:lnTo>
                    <a:pt x="0" y="216"/>
                  </a:lnTo>
                  <a:lnTo>
                    <a:pt x="28" y="278"/>
                  </a:lnTo>
                  <a:lnTo>
                    <a:pt x="28" y="285"/>
                  </a:lnTo>
                  <a:lnTo>
                    <a:pt x="91" y="320"/>
                  </a:lnTo>
                  <a:lnTo>
                    <a:pt x="91" y="313"/>
                  </a:lnTo>
                  <a:lnTo>
                    <a:pt x="132" y="292"/>
                  </a:lnTo>
                  <a:lnTo>
                    <a:pt x="223" y="320"/>
                  </a:lnTo>
                  <a:lnTo>
                    <a:pt x="216" y="278"/>
                  </a:lnTo>
                  <a:lnTo>
                    <a:pt x="265" y="278"/>
                  </a:lnTo>
                  <a:lnTo>
                    <a:pt x="286" y="292"/>
                  </a:lnTo>
                  <a:lnTo>
                    <a:pt x="299" y="285"/>
                  </a:lnTo>
                  <a:lnTo>
                    <a:pt x="320" y="250"/>
                  </a:lnTo>
                  <a:lnTo>
                    <a:pt x="348" y="257"/>
                  </a:lnTo>
                  <a:lnTo>
                    <a:pt x="355" y="292"/>
                  </a:lnTo>
                  <a:lnTo>
                    <a:pt x="362" y="236"/>
                  </a:lnTo>
                  <a:lnTo>
                    <a:pt x="418" y="250"/>
                  </a:lnTo>
                  <a:lnTo>
                    <a:pt x="432" y="313"/>
                  </a:lnTo>
                  <a:lnTo>
                    <a:pt x="466" y="348"/>
                  </a:lnTo>
                  <a:lnTo>
                    <a:pt x="487" y="348"/>
                  </a:lnTo>
                  <a:lnTo>
                    <a:pt x="515" y="348"/>
                  </a:lnTo>
                  <a:lnTo>
                    <a:pt x="529" y="348"/>
                  </a:lnTo>
                  <a:lnTo>
                    <a:pt x="543" y="299"/>
                  </a:lnTo>
                  <a:lnTo>
                    <a:pt x="494" y="264"/>
                  </a:lnTo>
                  <a:lnTo>
                    <a:pt x="494" y="250"/>
                  </a:lnTo>
                  <a:lnTo>
                    <a:pt x="466" y="236"/>
                  </a:lnTo>
                  <a:lnTo>
                    <a:pt x="494" y="230"/>
                  </a:lnTo>
                  <a:lnTo>
                    <a:pt x="522" y="216"/>
                  </a:lnTo>
                  <a:lnTo>
                    <a:pt x="550" y="195"/>
                  </a:lnTo>
                  <a:lnTo>
                    <a:pt x="550" y="160"/>
                  </a:lnTo>
                  <a:lnTo>
                    <a:pt x="543" y="97"/>
                  </a:lnTo>
                  <a:lnTo>
                    <a:pt x="550" y="49"/>
                  </a:lnTo>
                  <a:lnTo>
                    <a:pt x="522" y="7"/>
                  </a:lnTo>
                  <a:lnTo>
                    <a:pt x="494" y="0"/>
                  </a:lnTo>
                  <a:lnTo>
                    <a:pt x="466" y="56"/>
                  </a:lnTo>
                  <a:lnTo>
                    <a:pt x="459" y="84"/>
                  </a:lnTo>
                  <a:lnTo>
                    <a:pt x="425" y="118"/>
                  </a:lnTo>
                  <a:lnTo>
                    <a:pt x="425" y="13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7" name="Freeform 76"/>
            <p:cNvSpPr>
              <a:spLocks noChangeArrowheads="1"/>
            </p:cNvSpPr>
            <p:nvPr/>
          </p:nvSpPr>
          <p:spPr bwMode="auto">
            <a:xfrm>
              <a:off x="16331890" y="7368215"/>
              <a:ext cx="53848" cy="72493"/>
            </a:xfrm>
            <a:custGeom>
              <a:avLst/>
              <a:gdLst>
                <a:gd name="T0" fmla="*/ 56 w 113"/>
                <a:gd name="T1" fmla="*/ 14 h 154"/>
                <a:gd name="T2" fmla="*/ 84 w 113"/>
                <a:gd name="T3" fmla="*/ 42 h 154"/>
                <a:gd name="T4" fmla="*/ 98 w 113"/>
                <a:gd name="T5" fmla="*/ 77 h 154"/>
                <a:gd name="T6" fmla="*/ 112 w 113"/>
                <a:gd name="T7" fmla="*/ 112 h 154"/>
                <a:gd name="T8" fmla="*/ 91 w 113"/>
                <a:gd name="T9" fmla="*/ 153 h 154"/>
                <a:gd name="T10" fmla="*/ 77 w 113"/>
                <a:gd name="T11" fmla="*/ 146 h 154"/>
                <a:gd name="T12" fmla="*/ 28 w 113"/>
                <a:gd name="T13" fmla="*/ 91 h 154"/>
                <a:gd name="T14" fmla="*/ 14 w 113"/>
                <a:gd name="T15" fmla="*/ 77 h 154"/>
                <a:gd name="T16" fmla="*/ 0 w 113"/>
                <a:gd name="T17" fmla="*/ 49 h 154"/>
                <a:gd name="T18" fmla="*/ 21 w 113"/>
                <a:gd name="T19" fmla="*/ 49 h 154"/>
                <a:gd name="T20" fmla="*/ 28 w 113"/>
                <a:gd name="T21" fmla="*/ 0 h 154"/>
                <a:gd name="T22" fmla="*/ 56 w 113"/>
                <a:gd name="T23" fmla="*/ 1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154">
                  <a:moveTo>
                    <a:pt x="56" y="14"/>
                  </a:moveTo>
                  <a:lnTo>
                    <a:pt x="84" y="42"/>
                  </a:lnTo>
                  <a:lnTo>
                    <a:pt x="98" y="77"/>
                  </a:lnTo>
                  <a:lnTo>
                    <a:pt x="112" y="112"/>
                  </a:lnTo>
                  <a:lnTo>
                    <a:pt x="91" y="153"/>
                  </a:lnTo>
                  <a:lnTo>
                    <a:pt x="77" y="146"/>
                  </a:lnTo>
                  <a:lnTo>
                    <a:pt x="28" y="91"/>
                  </a:lnTo>
                  <a:lnTo>
                    <a:pt x="14" y="77"/>
                  </a:lnTo>
                  <a:lnTo>
                    <a:pt x="0" y="49"/>
                  </a:lnTo>
                  <a:lnTo>
                    <a:pt x="21" y="49"/>
                  </a:lnTo>
                  <a:lnTo>
                    <a:pt x="28" y="0"/>
                  </a:lnTo>
                  <a:lnTo>
                    <a:pt x="56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8" name="Freeform 77"/>
            <p:cNvSpPr>
              <a:spLocks noChangeArrowheads="1"/>
            </p:cNvSpPr>
            <p:nvPr/>
          </p:nvSpPr>
          <p:spPr bwMode="auto">
            <a:xfrm>
              <a:off x="15505518" y="6670205"/>
              <a:ext cx="37280" cy="66280"/>
            </a:xfrm>
            <a:custGeom>
              <a:avLst/>
              <a:gdLst>
                <a:gd name="T0" fmla="*/ 56 w 78"/>
                <a:gd name="T1" fmla="*/ 0 h 140"/>
                <a:gd name="T2" fmla="*/ 77 w 78"/>
                <a:gd name="T3" fmla="*/ 41 h 140"/>
                <a:gd name="T4" fmla="*/ 77 w 78"/>
                <a:gd name="T5" fmla="*/ 69 h 140"/>
                <a:gd name="T6" fmla="*/ 70 w 78"/>
                <a:gd name="T7" fmla="*/ 90 h 140"/>
                <a:gd name="T8" fmla="*/ 21 w 78"/>
                <a:gd name="T9" fmla="*/ 139 h 140"/>
                <a:gd name="T10" fmla="*/ 0 w 78"/>
                <a:gd name="T11" fmla="*/ 90 h 140"/>
                <a:gd name="T12" fmla="*/ 21 w 78"/>
                <a:gd name="T13" fmla="*/ 7 h 140"/>
                <a:gd name="T14" fmla="*/ 42 w 78"/>
                <a:gd name="T15" fmla="*/ 0 h 140"/>
                <a:gd name="T16" fmla="*/ 56 w 78"/>
                <a:gd name="T1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140">
                  <a:moveTo>
                    <a:pt x="56" y="0"/>
                  </a:moveTo>
                  <a:lnTo>
                    <a:pt x="77" y="41"/>
                  </a:lnTo>
                  <a:lnTo>
                    <a:pt x="77" y="69"/>
                  </a:lnTo>
                  <a:lnTo>
                    <a:pt x="70" y="90"/>
                  </a:lnTo>
                  <a:lnTo>
                    <a:pt x="21" y="139"/>
                  </a:lnTo>
                  <a:lnTo>
                    <a:pt x="0" y="90"/>
                  </a:lnTo>
                  <a:lnTo>
                    <a:pt x="21" y="7"/>
                  </a:lnTo>
                  <a:lnTo>
                    <a:pt x="42" y="0"/>
                  </a:lnTo>
                  <a:lnTo>
                    <a:pt x="56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19" name="Freeform 78"/>
            <p:cNvSpPr>
              <a:spLocks noChangeArrowheads="1"/>
            </p:cNvSpPr>
            <p:nvPr/>
          </p:nvSpPr>
          <p:spPr bwMode="auto">
            <a:xfrm>
              <a:off x="15698131" y="7134165"/>
              <a:ext cx="43493" cy="45567"/>
            </a:xfrm>
            <a:custGeom>
              <a:avLst/>
              <a:gdLst>
                <a:gd name="T0" fmla="*/ 21 w 91"/>
                <a:gd name="T1" fmla="*/ 62 h 98"/>
                <a:gd name="T2" fmla="*/ 56 w 91"/>
                <a:gd name="T3" fmla="*/ 41 h 98"/>
                <a:gd name="T4" fmla="*/ 63 w 91"/>
                <a:gd name="T5" fmla="*/ 0 h 98"/>
                <a:gd name="T6" fmla="*/ 69 w 91"/>
                <a:gd name="T7" fmla="*/ 34 h 98"/>
                <a:gd name="T8" fmla="*/ 90 w 91"/>
                <a:gd name="T9" fmla="*/ 69 h 98"/>
                <a:gd name="T10" fmla="*/ 90 w 91"/>
                <a:gd name="T11" fmla="*/ 90 h 98"/>
                <a:gd name="T12" fmla="*/ 63 w 91"/>
                <a:gd name="T13" fmla="*/ 97 h 98"/>
                <a:gd name="T14" fmla="*/ 0 w 91"/>
                <a:gd name="T15" fmla="*/ 83 h 98"/>
                <a:gd name="T16" fmla="*/ 21 w 91"/>
                <a:gd name="T17" fmla="*/ 6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98">
                  <a:moveTo>
                    <a:pt x="21" y="62"/>
                  </a:moveTo>
                  <a:lnTo>
                    <a:pt x="56" y="41"/>
                  </a:lnTo>
                  <a:lnTo>
                    <a:pt x="63" y="0"/>
                  </a:lnTo>
                  <a:lnTo>
                    <a:pt x="69" y="34"/>
                  </a:lnTo>
                  <a:lnTo>
                    <a:pt x="90" y="69"/>
                  </a:lnTo>
                  <a:lnTo>
                    <a:pt x="90" y="90"/>
                  </a:lnTo>
                  <a:lnTo>
                    <a:pt x="63" y="97"/>
                  </a:lnTo>
                  <a:lnTo>
                    <a:pt x="0" y="83"/>
                  </a:lnTo>
                  <a:lnTo>
                    <a:pt x="21" y="6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0" name="Freeform 79"/>
            <p:cNvSpPr>
              <a:spLocks noChangeArrowheads="1"/>
            </p:cNvSpPr>
            <p:nvPr/>
          </p:nvSpPr>
          <p:spPr bwMode="auto">
            <a:xfrm>
              <a:off x="15890743" y="7407568"/>
              <a:ext cx="22783" cy="33140"/>
            </a:xfrm>
            <a:custGeom>
              <a:avLst/>
              <a:gdLst>
                <a:gd name="T0" fmla="*/ 42 w 50"/>
                <a:gd name="T1" fmla="*/ 69 h 70"/>
                <a:gd name="T2" fmla="*/ 49 w 50"/>
                <a:gd name="T3" fmla="*/ 69 h 70"/>
                <a:gd name="T4" fmla="*/ 49 w 50"/>
                <a:gd name="T5" fmla="*/ 28 h 70"/>
                <a:gd name="T6" fmla="*/ 35 w 50"/>
                <a:gd name="T7" fmla="*/ 0 h 70"/>
                <a:gd name="T8" fmla="*/ 7 w 50"/>
                <a:gd name="T9" fmla="*/ 7 h 70"/>
                <a:gd name="T10" fmla="*/ 0 w 50"/>
                <a:gd name="T11" fmla="*/ 69 h 70"/>
                <a:gd name="T12" fmla="*/ 42 w 50"/>
                <a:gd name="T13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70">
                  <a:moveTo>
                    <a:pt x="42" y="69"/>
                  </a:moveTo>
                  <a:lnTo>
                    <a:pt x="49" y="69"/>
                  </a:lnTo>
                  <a:lnTo>
                    <a:pt x="49" y="28"/>
                  </a:lnTo>
                  <a:lnTo>
                    <a:pt x="35" y="0"/>
                  </a:lnTo>
                  <a:lnTo>
                    <a:pt x="7" y="7"/>
                  </a:lnTo>
                  <a:lnTo>
                    <a:pt x="0" y="69"/>
                  </a:lnTo>
                  <a:lnTo>
                    <a:pt x="42" y="6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1" name="Freeform 80"/>
            <p:cNvSpPr>
              <a:spLocks noChangeArrowheads="1"/>
            </p:cNvSpPr>
            <p:nvPr/>
          </p:nvSpPr>
          <p:spPr bwMode="auto">
            <a:xfrm>
              <a:off x="16512076" y="7498704"/>
              <a:ext cx="14498" cy="22784"/>
            </a:xfrm>
            <a:custGeom>
              <a:avLst/>
              <a:gdLst>
                <a:gd name="T0" fmla="*/ 21 w 29"/>
                <a:gd name="T1" fmla="*/ 0 h 49"/>
                <a:gd name="T2" fmla="*/ 28 w 29"/>
                <a:gd name="T3" fmla="*/ 7 h 49"/>
                <a:gd name="T4" fmla="*/ 7 w 29"/>
                <a:gd name="T5" fmla="*/ 27 h 49"/>
                <a:gd name="T6" fmla="*/ 21 w 29"/>
                <a:gd name="T7" fmla="*/ 34 h 49"/>
                <a:gd name="T8" fmla="*/ 7 w 29"/>
                <a:gd name="T9" fmla="*/ 48 h 49"/>
                <a:gd name="T10" fmla="*/ 0 w 29"/>
                <a:gd name="T11" fmla="*/ 27 h 49"/>
                <a:gd name="T12" fmla="*/ 21 w 29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9">
                  <a:moveTo>
                    <a:pt x="21" y="0"/>
                  </a:moveTo>
                  <a:lnTo>
                    <a:pt x="28" y="7"/>
                  </a:lnTo>
                  <a:lnTo>
                    <a:pt x="7" y="27"/>
                  </a:lnTo>
                  <a:lnTo>
                    <a:pt x="21" y="34"/>
                  </a:lnTo>
                  <a:lnTo>
                    <a:pt x="7" y="48"/>
                  </a:lnTo>
                  <a:lnTo>
                    <a:pt x="0" y="27"/>
                  </a:lnTo>
                  <a:lnTo>
                    <a:pt x="21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2" name="Freeform 81"/>
            <p:cNvSpPr>
              <a:spLocks noChangeArrowheads="1"/>
            </p:cNvSpPr>
            <p:nvPr/>
          </p:nvSpPr>
          <p:spPr bwMode="auto">
            <a:xfrm>
              <a:off x="15575935" y="6287025"/>
              <a:ext cx="14498" cy="16570"/>
            </a:xfrm>
            <a:custGeom>
              <a:avLst/>
              <a:gdLst>
                <a:gd name="T0" fmla="*/ 0 w 29"/>
                <a:gd name="T1" fmla="*/ 21 h 36"/>
                <a:gd name="T2" fmla="*/ 14 w 29"/>
                <a:gd name="T3" fmla="*/ 35 h 36"/>
                <a:gd name="T4" fmla="*/ 28 w 29"/>
                <a:gd name="T5" fmla="*/ 7 h 36"/>
                <a:gd name="T6" fmla="*/ 14 w 29"/>
                <a:gd name="T7" fmla="*/ 0 h 36"/>
                <a:gd name="T8" fmla="*/ 0 w 29"/>
                <a:gd name="T9" fmla="*/ 2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6">
                  <a:moveTo>
                    <a:pt x="0" y="21"/>
                  </a:moveTo>
                  <a:lnTo>
                    <a:pt x="14" y="35"/>
                  </a:lnTo>
                  <a:lnTo>
                    <a:pt x="28" y="7"/>
                  </a:lnTo>
                  <a:lnTo>
                    <a:pt x="14" y="0"/>
                  </a:lnTo>
                  <a:lnTo>
                    <a:pt x="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3" name="Freeform 82"/>
            <p:cNvSpPr>
              <a:spLocks noChangeArrowheads="1"/>
            </p:cNvSpPr>
            <p:nvPr/>
          </p:nvSpPr>
          <p:spPr bwMode="auto">
            <a:xfrm>
              <a:off x="16083356" y="6881473"/>
              <a:ext cx="6213" cy="6214"/>
            </a:xfrm>
            <a:custGeom>
              <a:avLst/>
              <a:gdLst>
                <a:gd name="T0" fmla="*/ 0 w 15"/>
                <a:gd name="T1" fmla="*/ 7 h 15"/>
                <a:gd name="T2" fmla="*/ 0 w 15"/>
                <a:gd name="T3" fmla="*/ 14 h 15"/>
                <a:gd name="T4" fmla="*/ 14 w 15"/>
                <a:gd name="T5" fmla="*/ 0 h 15"/>
                <a:gd name="T6" fmla="*/ 0 w 15"/>
                <a:gd name="T7" fmla="*/ 0 h 15"/>
                <a:gd name="T8" fmla="*/ 0 w 15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0" y="7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4" name="Freeform 83"/>
            <p:cNvSpPr>
              <a:spLocks noChangeArrowheads="1"/>
            </p:cNvSpPr>
            <p:nvPr/>
          </p:nvSpPr>
          <p:spPr bwMode="auto">
            <a:xfrm>
              <a:off x="15538655" y="5655295"/>
              <a:ext cx="14498" cy="16570"/>
            </a:xfrm>
            <a:custGeom>
              <a:avLst/>
              <a:gdLst>
                <a:gd name="T0" fmla="*/ 14 w 29"/>
                <a:gd name="T1" fmla="*/ 0 h 36"/>
                <a:gd name="T2" fmla="*/ 28 w 29"/>
                <a:gd name="T3" fmla="*/ 14 h 36"/>
                <a:gd name="T4" fmla="*/ 7 w 29"/>
                <a:gd name="T5" fmla="*/ 35 h 36"/>
                <a:gd name="T6" fmla="*/ 0 w 29"/>
                <a:gd name="T7" fmla="*/ 14 h 36"/>
                <a:gd name="T8" fmla="*/ 14 w 29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6">
                  <a:moveTo>
                    <a:pt x="14" y="0"/>
                  </a:moveTo>
                  <a:lnTo>
                    <a:pt x="28" y="14"/>
                  </a:lnTo>
                  <a:lnTo>
                    <a:pt x="7" y="35"/>
                  </a:lnTo>
                  <a:lnTo>
                    <a:pt x="0" y="14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5" name="Freeform 84"/>
            <p:cNvSpPr>
              <a:spLocks noChangeArrowheads="1"/>
            </p:cNvSpPr>
            <p:nvPr/>
          </p:nvSpPr>
          <p:spPr bwMode="auto">
            <a:xfrm>
              <a:off x="17344662" y="5903844"/>
              <a:ext cx="55920" cy="43497"/>
            </a:xfrm>
            <a:custGeom>
              <a:avLst/>
              <a:gdLst>
                <a:gd name="T0" fmla="*/ 35 w 119"/>
                <a:gd name="T1" fmla="*/ 90 h 91"/>
                <a:gd name="T2" fmla="*/ 90 w 119"/>
                <a:gd name="T3" fmla="*/ 56 h 91"/>
                <a:gd name="T4" fmla="*/ 118 w 119"/>
                <a:gd name="T5" fmla="*/ 49 h 91"/>
                <a:gd name="T6" fmla="*/ 84 w 119"/>
                <a:gd name="T7" fmla="*/ 0 h 91"/>
                <a:gd name="T8" fmla="*/ 70 w 119"/>
                <a:gd name="T9" fmla="*/ 14 h 91"/>
                <a:gd name="T10" fmla="*/ 0 w 119"/>
                <a:gd name="T11" fmla="*/ 0 h 91"/>
                <a:gd name="T12" fmla="*/ 0 w 119"/>
                <a:gd name="T13" fmla="*/ 28 h 91"/>
                <a:gd name="T14" fmla="*/ 14 w 119"/>
                <a:gd name="T15" fmla="*/ 62 h 91"/>
                <a:gd name="T16" fmla="*/ 35 w 119"/>
                <a:gd name="T17" fmla="*/ 9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91">
                  <a:moveTo>
                    <a:pt x="35" y="90"/>
                  </a:moveTo>
                  <a:lnTo>
                    <a:pt x="90" y="56"/>
                  </a:lnTo>
                  <a:lnTo>
                    <a:pt x="118" y="49"/>
                  </a:lnTo>
                  <a:lnTo>
                    <a:pt x="84" y="0"/>
                  </a:lnTo>
                  <a:lnTo>
                    <a:pt x="70" y="14"/>
                  </a:lnTo>
                  <a:lnTo>
                    <a:pt x="0" y="0"/>
                  </a:lnTo>
                  <a:lnTo>
                    <a:pt x="0" y="28"/>
                  </a:lnTo>
                  <a:lnTo>
                    <a:pt x="14" y="62"/>
                  </a:lnTo>
                  <a:lnTo>
                    <a:pt x="35" y="9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6" name="Freeform 85"/>
            <p:cNvSpPr>
              <a:spLocks noChangeArrowheads="1"/>
            </p:cNvSpPr>
            <p:nvPr/>
          </p:nvSpPr>
          <p:spPr bwMode="auto">
            <a:xfrm>
              <a:off x="17526919" y="6110970"/>
              <a:ext cx="16569" cy="20712"/>
            </a:xfrm>
            <a:custGeom>
              <a:avLst/>
              <a:gdLst>
                <a:gd name="T0" fmla="*/ 34 w 35"/>
                <a:gd name="T1" fmla="*/ 7 h 43"/>
                <a:gd name="T2" fmla="*/ 34 w 35"/>
                <a:gd name="T3" fmla="*/ 42 h 43"/>
                <a:gd name="T4" fmla="*/ 0 w 35"/>
                <a:gd name="T5" fmla="*/ 14 h 43"/>
                <a:gd name="T6" fmla="*/ 21 w 35"/>
                <a:gd name="T7" fmla="*/ 0 h 43"/>
                <a:gd name="T8" fmla="*/ 34 w 35"/>
                <a:gd name="T9" fmla="*/ 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3">
                  <a:moveTo>
                    <a:pt x="34" y="7"/>
                  </a:moveTo>
                  <a:lnTo>
                    <a:pt x="34" y="42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4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7" name="Freeform 86"/>
            <p:cNvSpPr>
              <a:spLocks noChangeArrowheads="1"/>
            </p:cNvSpPr>
            <p:nvPr/>
          </p:nvSpPr>
          <p:spPr bwMode="auto">
            <a:xfrm>
              <a:off x="15114078" y="4986285"/>
              <a:ext cx="12426" cy="4142"/>
            </a:xfrm>
            <a:custGeom>
              <a:avLst/>
              <a:gdLst>
                <a:gd name="T0" fmla="*/ 0 w 28"/>
                <a:gd name="T1" fmla="*/ 7 h 8"/>
                <a:gd name="T2" fmla="*/ 27 w 28"/>
                <a:gd name="T3" fmla="*/ 0 h 8"/>
                <a:gd name="T4" fmla="*/ 7 w 28"/>
                <a:gd name="T5" fmla="*/ 0 h 8"/>
                <a:gd name="T6" fmla="*/ 0 w 2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8">
                  <a:moveTo>
                    <a:pt x="0" y="7"/>
                  </a:moveTo>
                  <a:lnTo>
                    <a:pt x="27" y="0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8" name="Freeform 87"/>
            <p:cNvSpPr>
              <a:spLocks noChangeArrowheads="1"/>
            </p:cNvSpPr>
            <p:nvPr/>
          </p:nvSpPr>
          <p:spPr bwMode="auto">
            <a:xfrm>
              <a:off x="15122363" y="4992498"/>
              <a:ext cx="4142" cy="6214"/>
            </a:xfrm>
            <a:custGeom>
              <a:avLst/>
              <a:gdLst>
                <a:gd name="T0" fmla="*/ 0 w 7"/>
                <a:gd name="T1" fmla="*/ 14 h 15"/>
                <a:gd name="T2" fmla="*/ 6 w 7"/>
                <a:gd name="T3" fmla="*/ 14 h 15"/>
                <a:gd name="T4" fmla="*/ 6 w 7"/>
                <a:gd name="T5" fmla="*/ 0 h 15"/>
                <a:gd name="T6" fmla="*/ 0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0" y="14"/>
                  </a:moveTo>
                  <a:lnTo>
                    <a:pt x="6" y="14"/>
                  </a:lnTo>
                  <a:lnTo>
                    <a:pt x="6" y="0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29" name="Freeform 88"/>
            <p:cNvSpPr>
              <a:spLocks noChangeArrowheads="1"/>
            </p:cNvSpPr>
            <p:nvPr/>
          </p:nvSpPr>
          <p:spPr bwMode="auto">
            <a:xfrm>
              <a:off x="15114078" y="4986285"/>
              <a:ext cx="12426" cy="4142"/>
            </a:xfrm>
            <a:custGeom>
              <a:avLst/>
              <a:gdLst>
                <a:gd name="T0" fmla="*/ 0 w 28"/>
                <a:gd name="T1" fmla="*/ 7 h 8"/>
                <a:gd name="T2" fmla="*/ 27 w 28"/>
                <a:gd name="T3" fmla="*/ 0 h 8"/>
                <a:gd name="T4" fmla="*/ 7 w 28"/>
                <a:gd name="T5" fmla="*/ 0 h 8"/>
                <a:gd name="T6" fmla="*/ 0 w 2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8">
                  <a:moveTo>
                    <a:pt x="0" y="7"/>
                  </a:moveTo>
                  <a:lnTo>
                    <a:pt x="27" y="0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0" name="Freeform 89"/>
            <p:cNvSpPr>
              <a:spLocks noChangeArrowheads="1"/>
            </p:cNvSpPr>
            <p:nvPr/>
          </p:nvSpPr>
          <p:spPr bwMode="auto">
            <a:xfrm>
              <a:off x="15122363" y="4992498"/>
              <a:ext cx="4142" cy="6214"/>
            </a:xfrm>
            <a:custGeom>
              <a:avLst/>
              <a:gdLst>
                <a:gd name="T0" fmla="*/ 0 w 7"/>
                <a:gd name="T1" fmla="*/ 14 h 15"/>
                <a:gd name="T2" fmla="*/ 6 w 7"/>
                <a:gd name="T3" fmla="*/ 14 h 15"/>
                <a:gd name="T4" fmla="*/ 6 w 7"/>
                <a:gd name="T5" fmla="*/ 0 h 15"/>
                <a:gd name="T6" fmla="*/ 0 w 7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0" y="14"/>
                  </a:moveTo>
                  <a:lnTo>
                    <a:pt x="6" y="14"/>
                  </a:lnTo>
                  <a:lnTo>
                    <a:pt x="6" y="0"/>
                  </a:lnTo>
                  <a:lnTo>
                    <a:pt x="0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1" name="Freeform 90"/>
            <p:cNvSpPr>
              <a:spLocks noChangeArrowheads="1"/>
            </p:cNvSpPr>
            <p:nvPr/>
          </p:nvSpPr>
          <p:spPr bwMode="auto">
            <a:xfrm>
              <a:off x="15043659" y="4538896"/>
              <a:ext cx="2748362" cy="1437444"/>
            </a:xfrm>
            <a:custGeom>
              <a:avLst/>
              <a:gdLst>
                <a:gd name="T0" fmla="*/ 3081 w 5850"/>
                <a:gd name="T1" fmla="*/ 390 h 3062"/>
                <a:gd name="T2" fmla="*/ 2782 w 5850"/>
                <a:gd name="T3" fmla="*/ 494 h 3062"/>
                <a:gd name="T4" fmla="*/ 2650 w 5850"/>
                <a:gd name="T5" fmla="*/ 445 h 3062"/>
                <a:gd name="T6" fmla="*/ 2462 w 5850"/>
                <a:gd name="T7" fmla="*/ 390 h 3062"/>
                <a:gd name="T8" fmla="*/ 2184 w 5850"/>
                <a:gd name="T9" fmla="*/ 494 h 3062"/>
                <a:gd name="T10" fmla="*/ 1843 w 5850"/>
                <a:gd name="T11" fmla="*/ 334 h 3062"/>
                <a:gd name="T12" fmla="*/ 1593 w 5850"/>
                <a:gd name="T13" fmla="*/ 209 h 3062"/>
                <a:gd name="T14" fmla="*/ 1384 w 5850"/>
                <a:gd name="T15" fmla="*/ 160 h 3062"/>
                <a:gd name="T16" fmla="*/ 1182 w 5850"/>
                <a:gd name="T17" fmla="*/ 84 h 3062"/>
                <a:gd name="T18" fmla="*/ 1064 w 5850"/>
                <a:gd name="T19" fmla="*/ 84 h 3062"/>
                <a:gd name="T20" fmla="*/ 904 w 5850"/>
                <a:gd name="T21" fmla="*/ 63 h 3062"/>
                <a:gd name="T22" fmla="*/ 709 w 5850"/>
                <a:gd name="T23" fmla="*/ 14 h 3062"/>
                <a:gd name="T24" fmla="*/ 577 w 5850"/>
                <a:gd name="T25" fmla="*/ 98 h 3062"/>
                <a:gd name="T26" fmla="*/ 306 w 5850"/>
                <a:gd name="T27" fmla="*/ 160 h 3062"/>
                <a:gd name="T28" fmla="*/ 208 w 5850"/>
                <a:gd name="T29" fmla="*/ 397 h 3062"/>
                <a:gd name="T30" fmla="*/ 132 w 5850"/>
                <a:gd name="T31" fmla="*/ 529 h 3062"/>
                <a:gd name="T32" fmla="*/ 271 w 5850"/>
                <a:gd name="T33" fmla="*/ 696 h 3062"/>
                <a:gd name="T34" fmla="*/ 180 w 5850"/>
                <a:gd name="T35" fmla="*/ 960 h 3062"/>
                <a:gd name="T36" fmla="*/ 7 w 5850"/>
                <a:gd name="T37" fmla="*/ 988 h 3062"/>
                <a:gd name="T38" fmla="*/ 139 w 5850"/>
                <a:gd name="T39" fmla="*/ 1155 h 3062"/>
                <a:gd name="T40" fmla="*/ 334 w 5850"/>
                <a:gd name="T41" fmla="*/ 1183 h 3062"/>
                <a:gd name="T42" fmla="*/ 473 w 5850"/>
                <a:gd name="T43" fmla="*/ 1294 h 3062"/>
                <a:gd name="T44" fmla="*/ 396 w 5850"/>
                <a:gd name="T45" fmla="*/ 1579 h 3062"/>
                <a:gd name="T46" fmla="*/ 667 w 5850"/>
                <a:gd name="T47" fmla="*/ 1530 h 3062"/>
                <a:gd name="T48" fmla="*/ 918 w 5850"/>
                <a:gd name="T49" fmla="*/ 1642 h 3062"/>
                <a:gd name="T50" fmla="*/ 1293 w 5850"/>
                <a:gd name="T51" fmla="*/ 1517 h 3062"/>
                <a:gd name="T52" fmla="*/ 1586 w 5850"/>
                <a:gd name="T53" fmla="*/ 1753 h 3062"/>
                <a:gd name="T54" fmla="*/ 1899 w 5850"/>
                <a:gd name="T55" fmla="*/ 1899 h 3062"/>
                <a:gd name="T56" fmla="*/ 2149 w 5850"/>
                <a:gd name="T57" fmla="*/ 2080 h 3062"/>
                <a:gd name="T58" fmla="*/ 2344 w 5850"/>
                <a:gd name="T59" fmla="*/ 2219 h 3062"/>
                <a:gd name="T60" fmla="*/ 2699 w 5850"/>
                <a:gd name="T61" fmla="*/ 2247 h 3062"/>
                <a:gd name="T62" fmla="*/ 2970 w 5850"/>
                <a:gd name="T63" fmla="*/ 2184 h 3062"/>
                <a:gd name="T64" fmla="*/ 3283 w 5850"/>
                <a:gd name="T65" fmla="*/ 2268 h 3062"/>
                <a:gd name="T66" fmla="*/ 3429 w 5850"/>
                <a:gd name="T67" fmla="*/ 2143 h 3062"/>
                <a:gd name="T68" fmla="*/ 3714 w 5850"/>
                <a:gd name="T69" fmla="*/ 2031 h 3062"/>
                <a:gd name="T70" fmla="*/ 3881 w 5850"/>
                <a:gd name="T71" fmla="*/ 2129 h 3062"/>
                <a:gd name="T72" fmla="*/ 4028 w 5850"/>
                <a:gd name="T73" fmla="*/ 2268 h 3062"/>
                <a:gd name="T74" fmla="*/ 4111 w 5850"/>
                <a:gd name="T75" fmla="*/ 2393 h 3062"/>
                <a:gd name="T76" fmla="*/ 4083 w 5850"/>
                <a:gd name="T77" fmla="*/ 2630 h 3062"/>
                <a:gd name="T78" fmla="*/ 4361 w 5850"/>
                <a:gd name="T79" fmla="*/ 2908 h 3062"/>
                <a:gd name="T80" fmla="*/ 4681 w 5850"/>
                <a:gd name="T81" fmla="*/ 3026 h 3062"/>
                <a:gd name="T82" fmla="*/ 4855 w 5850"/>
                <a:gd name="T83" fmla="*/ 2859 h 3062"/>
                <a:gd name="T84" fmla="*/ 4932 w 5850"/>
                <a:gd name="T85" fmla="*/ 2671 h 3062"/>
                <a:gd name="T86" fmla="*/ 5092 w 5850"/>
                <a:gd name="T87" fmla="*/ 2643 h 3062"/>
                <a:gd name="T88" fmla="*/ 5280 w 5850"/>
                <a:gd name="T89" fmla="*/ 2595 h 3062"/>
                <a:gd name="T90" fmla="*/ 5467 w 5850"/>
                <a:gd name="T91" fmla="*/ 2623 h 3062"/>
                <a:gd name="T92" fmla="*/ 5502 w 5850"/>
                <a:gd name="T93" fmla="*/ 2790 h 3062"/>
                <a:gd name="T94" fmla="*/ 5620 w 5850"/>
                <a:gd name="T95" fmla="*/ 2831 h 3062"/>
                <a:gd name="T96" fmla="*/ 5800 w 5850"/>
                <a:gd name="T97" fmla="*/ 2797 h 3062"/>
                <a:gd name="T98" fmla="*/ 5842 w 5850"/>
                <a:gd name="T99" fmla="*/ 2595 h 3062"/>
                <a:gd name="T100" fmla="*/ 5440 w 5850"/>
                <a:gd name="T101" fmla="*/ 2240 h 3062"/>
                <a:gd name="T102" fmla="*/ 5141 w 5850"/>
                <a:gd name="T103" fmla="*/ 1607 h 3062"/>
                <a:gd name="T104" fmla="*/ 5022 w 5850"/>
                <a:gd name="T105" fmla="*/ 828 h 3062"/>
                <a:gd name="T106" fmla="*/ 5182 w 5850"/>
                <a:gd name="T107" fmla="*/ 696 h 3062"/>
                <a:gd name="T108" fmla="*/ 5085 w 5850"/>
                <a:gd name="T109" fmla="*/ 536 h 3062"/>
                <a:gd name="T110" fmla="*/ 4987 w 5850"/>
                <a:gd name="T111" fmla="*/ 466 h 3062"/>
                <a:gd name="T112" fmla="*/ 4772 w 5850"/>
                <a:gd name="T113" fmla="*/ 362 h 3062"/>
                <a:gd name="T114" fmla="*/ 4493 w 5850"/>
                <a:gd name="T115" fmla="*/ 348 h 3062"/>
                <a:gd name="T116" fmla="*/ 4160 w 5850"/>
                <a:gd name="T117" fmla="*/ 459 h 3062"/>
                <a:gd name="T118" fmla="*/ 3721 w 5850"/>
                <a:gd name="T119" fmla="*/ 438 h 3062"/>
                <a:gd name="T120" fmla="*/ 3471 w 5850"/>
                <a:gd name="T121" fmla="*/ 390 h 3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50" h="3062">
                  <a:moveTo>
                    <a:pt x="3374" y="411"/>
                  </a:moveTo>
                  <a:lnTo>
                    <a:pt x="3318" y="431"/>
                  </a:lnTo>
                  <a:lnTo>
                    <a:pt x="3297" y="431"/>
                  </a:lnTo>
                  <a:lnTo>
                    <a:pt x="3227" y="431"/>
                  </a:lnTo>
                  <a:lnTo>
                    <a:pt x="3213" y="445"/>
                  </a:lnTo>
                  <a:lnTo>
                    <a:pt x="3165" y="411"/>
                  </a:lnTo>
                  <a:lnTo>
                    <a:pt x="3116" y="390"/>
                  </a:lnTo>
                  <a:lnTo>
                    <a:pt x="3081" y="390"/>
                  </a:lnTo>
                  <a:lnTo>
                    <a:pt x="3061" y="411"/>
                  </a:lnTo>
                  <a:lnTo>
                    <a:pt x="3012" y="404"/>
                  </a:lnTo>
                  <a:lnTo>
                    <a:pt x="2970" y="397"/>
                  </a:lnTo>
                  <a:lnTo>
                    <a:pt x="2928" y="431"/>
                  </a:lnTo>
                  <a:lnTo>
                    <a:pt x="2887" y="445"/>
                  </a:lnTo>
                  <a:lnTo>
                    <a:pt x="2880" y="466"/>
                  </a:lnTo>
                  <a:lnTo>
                    <a:pt x="2824" y="466"/>
                  </a:lnTo>
                  <a:lnTo>
                    <a:pt x="2782" y="494"/>
                  </a:lnTo>
                  <a:lnTo>
                    <a:pt x="2796" y="473"/>
                  </a:lnTo>
                  <a:lnTo>
                    <a:pt x="2761" y="480"/>
                  </a:lnTo>
                  <a:lnTo>
                    <a:pt x="2761" y="473"/>
                  </a:lnTo>
                  <a:lnTo>
                    <a:pt x="2754" y="473"/>
                  </a:lnTo>
                  <a:lnTo>
                    <a:pt x="2740" y="459"/>
                  </a:lnTo>
                  <a:lnTo>
                    <a:pt x="2706" y="459"/>
                  </a:lnTo>
                  <a:lnTo>
                    <a:pt x="2671" y="438"/>
                  </a:lnTo>
                  <a:lnTo>
                    <a:pt x="2650" y="445"/>
                  </a:lnTo>
                  <a:lnTo>
                    <a:pt x="2636" y="438"/>
                  </a:lnTo>
                  <a:lnTo>
                    <a:pt x="2587" y="431"/>
                  </a:lnTo>
                  <a:lnTo>
                    <a:pt x="2539" y="404"/>
                  </a:lnTo>
                  <a:lnTo>
                    <a:pt x="2553" y="390"/>
                  </a:lnTo>
                  <a:lnTo>
                    <a:pt x="2525" y="327"/>
                  </a:lnTo>
                  <a:lnTo>
                    <a:pt x="2504" y="327"/>
                  </a:lnTo>
                  <a:lnTo>
                    <a:pt x="2490" y="348"/>
                  </a:lnTo>
                  <a:lnTo>
                    <a:pt x="2462" y="390"/>
                  </a:lnTo>
                  <a:lnTo>
                    <a:pt x="2462" y="369"/>
                  </a:lnTo>
                  <a:lnTo>
                    <a:pt x="2441" y="334"/>
                  </a:lnTo>
                  <a:lnTo>
                    <a:pt x="2379" y="411"/>
                  </a:lnTo>
                  <a:lnTo>
                    <a:pt x="2358" y="459"/>
                  </a:lnTo>
                  <a:lnTo>
                    <a:pt x="2330" y="473"/>
                  </a:lnTo>
                  <a:lnTo>
                    <a:pt x="2295" y="494"/>
                  </a:lnTo>
                  <a:lnTo>
                    <a:pt x="2274" y="494"/>
                  </a:lnTo>
                  <a:lnTo>
                    <a:pt x="2184" y="494"/>
                  </a:lnTo>
                  <a:lnTo>
                    <a:pt x="2149" y="473"/>
                  </a:lnTo>
                  <a:lnTo>
                    <a:pt x="2080" y="438"/>
                  </a:lnTo>
                  <a:lnTo>
                    <a:pt x="2045" y="431"/>
                  </a:lnTo>
                  <a:lnTo>
                    <a:pt x="2017" y="390"/>
                  </a:lnTo>
                  <a:lnTo>
                    <a:pt x="2003" y="348"/>
                  </a:lnTo>
                  <a:lnTo>
                    <a:pt x="1968" y="334"/>
                  </a:lnTo>
                  <a:lnTo>
                    <a:pt x="1906" y="376"/>
                  </a:lnTo>
                  <a:lnTo>
                    <a:pt x="1843" y="334"/>
                  </a:lnTo>
                  <a:lnTo>
                    <a:pt x="1822" y="334"/>
                  </a:lnTo>
                  <a:lnTo>
                    <a:pt x="1815" y="313"/>
                  </a:lnTo>
                  <a:lnTo>
                    <a:pt x="1766" y="299"/>
                  </a:lnTo>
                  <a:lnTo>
                    <a:pt x="1753" y="292"/>
                  </a:lnTo>
                  <a:lnTo>
                    <a:pt x="1718" y="250"/>
                  </a:lnTo>
                  <a:lnTo>
                    <a:pt x="1669" y="230"/>
                  </a:lnTo>
                  <a:lnTo>
                    <a:pt x="1614" y="237"/>
                  </a:lnTo>
                  <a:lnTo>
                    <a:pt x="1593" y="209"/>
                  </a:lnTo>
                  <a:lnTo>
                    <a:pt x="1572" y="209"/>
                  </a:lnTo>
                  <a:lnTo>
                    <a:pt x="1537" y="237"/>
                  </a:lnTo>
                  <a:lnTo>
                    <a:pt x="1516" y="244"/>
                  </a:lnTo>
                  <a:lnTo>
                    <a:pt x="1474" y="244"/>
                  </a:lnTo>
                  <a:lnTo>
                    <a:pt x="1454" y="202"/>
                  </a:lnTo>
                  <a:lnTo>
                    <a:pt x="1398" y="209"/>
                  </a:lnTo>
                  <a:lnTo>
                    <a:pt x="1398" y="195"/>
                  </a:lnTo>
                  <a:lnTo>
                    <a:pt x="1384" y="160"/>
                  </a:lnTo>
                  <a:lnTo>
                    <a:pt x="1356" y="146"/>
                  </a:lnTo>
                  <a:lnTo>
                    <a:pt x="1363" y="111"/>
                  </a:lnTo>
                  <a:lnTo>
                    <a:pt x="1349" y="70"/>
                  </a:lnTo>
                  <a:lnTo>
                    <a:pt x="1293" y="14"/>
                  </a:lnTo>
                  <a:lnTo>
                    <a:pt x="1266" y="14"/>
                  </a:lnTo>
                  <a:lnTo>
                    <a:pt x="1266" y="21"/>
                  </a:lnTo>
                  <a:lnTo>
                    <a:pt x="1224" y="63"/>
                  </a:lnTo>
                  <a:lnTo>
                    <a:pt x="1182" y="84"/>
                  </a:lnTo>
                  <a:lnTo>
                    <a:pt x="1189" y="63"/>
                  </a:lnTo>
                  <a:lnTo>
                    <a:pt x="1196" y="14"/>
                  </a:lnTo>
                  <a:lnTo>
                    <a:pt x="1161" y="0"/>
                  </a:lnTo>
                  <a:lnTo>
                    <a:pt x="1133" y="14"/>
                  </a:lnTo>
                  <a:lnTo>
                    <a:pt x="1113" y="42"/>
                  </a:lnTo>
                  <a:lnTo>
                    <a:pt x="1154" y="104"/>
                  </a:lnTo>
                  <a:lnTo>
                    <a:pt x="1126" y="139"/>
                  </a:lnTo>
                  <a:lnTo>
                    <a:pt x="1064" y="84"/>
                  </a:lnTo>
                  <a:lnTo>
                    <a:pt x="1057" y="84"/>
                  </a:lnTo>
                  <a:lnTo>
                    <a:pt x="1036" y="132"/>
                  </a:lnTo>
                  <a:lnTo>
                    <a:pt x="1029" y="174"/>
                  </a:lnTo>
                  <a:lnTo>
                    <a:pt x="1022" y="139"/>
                  </a:lnTo>
                  <a:lnTo>
                    <a:pt x="960" y="104"/>
                  </a:lnTo>
                  <a:lnTo>
                    <a:pt x="925" y="63"/>
                  </a:lnTo>
                  <a:lnTo>
                    <a:pt x="918" y="49"/>
                  </a:lnTo>
                  <a:lnTo>
                    <a:pt x="904" y="63"/>
                  </a:lnTo>
                  <a:lnTo>
                    <a:pt x="897" y="70"/>
                  </a:lnTo>
                  <a:lnTo>
                    <a:pt x="925" y="104"/>
                  </a:lnTo>
                  <a:lnTo>
                    <a:pt x="855" y="167"/>
                  </a:lnTo>
                  <a:lnTo>
                    <a:pt x="772" y="132"/>
                  </a:lnTo>
                  <a:lnTo>
                    <a:pt x="709" y="111"/>
                  </a:lnTo>
                  <a:lnTo>
                    <a:pt x="723" y="70"/>
                  </a:lnTo>
                  <a:lnTo>
                    <a:pt x="723" y="21"/>
                  </a:lnTo>
                  <a:lnTo>
                    <a:pt x="709" y="14"/>
                  </a:lnTo>
                  <a:lnTo>
                    <a:pt x="688" y="7"/>
                  </a:lnTo>
                  <a:lnTo>
                    <a:pt x="674" y="63"/>
                  </a:lnTo>
                  <a:lnTo>
                    <a:pt x="612" y="77"/>
                  </a:lnTo>
                  <a:lnTo>
                    <a:pt x="577" y="14"/>
                  </a:lnTo>
                  <a:lnTo>
                    <a:pt x="563" y="14"/>
                  </a:lnTo>
                  <a:lnTo>
                    <a:pt x="556" y="21"/>
                  </a:lnTo>
                  <a:lnTo>
                    <a:pt x="556" y="35"/>
                  </a:lnTo>
                  <a:lnTo>
                    <a:pt x="577" y="98"/>
                  </a:lnTo>
                  <a:lnTo>
                    <a:pt x="542" y="132"/>
                  </a:lnTo>
                  <a:lnTo>
                    <a:pt x="535" y="132"/>
                  </a:lnTo>
                  <a:lnTo>
                    <a:pt x="501" y="77"/>
                  </a:lnTo>
                  <a:lnTo>
                    <a:pt x="466" y="84"/>
                  </a:lnTo>
                  <a:lnTo>
                    <a:pt x="396" y="98"/>
                  </a:lnTo>
                  <a:lnTo>
                    <a:pt x="382" y="111"/>
                  </a:lnTo>
                  <a:lnTo>
                    <a:pt x="347" y="132"/>
                  </a:lnTo>
                  <a:lnTo>
                    <a:pt x="306" y="160"/>
                  </a:lnTo>
                  <a:lnTo>
                    <a:pt x="278" y="202"/>
                  </a:lnTo>
                  <a:lnTo>
                    <a:pt x="292" y="202"/>
                  </a:lnTo>
                  <a:lnTo>
                    <a:pt x="278" y="244"/>
                  </a:lnTo>
                  <a:lnTo>
                    <a:pt x="292" y="250"/>
                  </a:lnTo>
                  <a:lnTo>
                    <a:pt x="278" y="271"/>
                  </a:lnTo>
                  <a:lnTo>
                    <a:pt x="243" y="306"/>
                  </a:lnTo>
                  <a:lnTo>
                    <a:pt x="229" y="376"/>
                  </a:lnTo>
                  <a:lnTo>
                    <a:pt x="208" y="397"/>
                  </a:lnTo>
                  <a:lnTo>
                    <a:pt x="201" y="411"/>
                  </a:lnTo>
                  <a:lnTo>
                    <a:pt x="180" y="438"/>
                  </a:lnTo>
                  <a:lnTo>
                    <a:pt x="173" y="445"/>
                  </a:lnTo>
                  <a:lnTo>
                    <a:pt x="146" y="445"/>
                  </a:lnTo>
                  <a:lnTo>
                    <a:pt x="146" y="466"/>
                  </a:lnTo>
                  <a:lnTo>
                    <a:pt x="153" y="473"/>
                  </a:lnTo>
                  <a:lnTo>
                    <a:pt x="146" y="501"/>
                  </a:lnTo>
                  <a:lnTo>
                    <a:pt x="132" y="529"/>
                  </a:lnTo>
                  <a:lnTo>
                    <a:pt x="132" y="536"/>
                  </a:lnTo>
                  <a:lnTo>
                    <a:pt x="153" y="543"/>
                  </a:lnTo>
                  <a:lnTo>
                    <a:pt x="153" y="571"/>
                  </a:lnTo>
                  <a:lnTo>
                    <a:pt x="194" y="563"/>
                  </a:lnTo>
                  <a:lnTo>
                    <a:pt x="208" y="577"/>
                  </a:lnTo>
                  <a:lnTo>
                    <a:pt x="236" y="591"/>
                  </a:lnTo>
                  <a:lnTo>
                    <a:pt x="264" y="689"/>
                  </a:lnTo>
                  <a:lnTo>
                    <a:pt x="271" y="696"/>
                  </a:lnTo>
                  <a:lnTo>
                    <a:pt x="250" y="710"/>
                  </a:lnTo>
                  <a:lnTo>
                    <a:pt x="201" y="738"/>
                  </a:lnTo>
                  <a:lnTo>
                    <a:pt x="194" y="765"/>
                  </a:lnTo>
                  <a:lnTo>
                    <a:pt x="146" y="800"/>
                  </a:lnTo>
                  <a:lnTo>
                    <a:pt x="146" y="828"/>
                  </a:lnTo>
                  <a:lnTo>
                    <a:pt x="201" y="863"/>
                  </a:lnTo>
                  <a:lnTo>
                    <a:pt x="208" y="890"/>
                  </a:lnTo>
                  <a:lnTo>
                    <a:pt x="180" y="960"/>
                  </a:lnTo>
                  <a:lnTo>
                    <a:pt x="201" y="981"/>
                  </a:lnTo>
                  <a:lnTo>
                    <a:pt x="167" y="988"/>
                  </a:lnTo>
                  <a:lnTo>
                    <a:pt x="167" y="1002"/>
                  </a:lnTo>
                  <a:lnTo>
                    <a:pt x="104" y="1002"/>
                  </a:lnTo>
                  <a:lnTo>
                    <a:pt x="97" y="981"/>
                  </a:lnTo>
                  <a:lnTo>
                    <a:pt x="62" y="925"/>
                  </a:lnTo>
                  <a:lnTo>
                    <a:pt x="69" y="995"/>
                  </a:lnTo>
                  <a:lnTo>
                    <a:pt x="7" y="988"/>
                  </a:lnTo>
                  <a:lnTo>
                    <a:pt x="13" y="1023"/>
                  </a:lnTo>
                  <a:lnTo>
                    <a:pt x="0" y="1065"/>
                  </a:lnTo>
                  <a:lnTo>
                    <a:pt x="7" y="1148"/>
                  </a:lnTo>
                  <a:lnTo>
                    <a:pt x="76" y="1127"/>
                  </a:lnTo>
                  <a:lnTo>
                    <a:pt x="97" y="1155"/>
                  </a:lnTo>
                  <a:lnTo>
                    <a:pt x="69" y="1183"/>
                  </a:lnTo>
                  <a:lnTo>
                    <a:pt x="139" y="1183"/>
                  </a:lnTo>
                  <a:lnTo>
                    <a:pt x="139" y="1155"/>
                  </a:lnTo>
                  <a:lnTo>
                    <a:pt x="167" y="1162"/>
                  </a:lnTo>
                  <a:lnTo>
                    <a:pt x="180" y="1183"/>
                  </a:lnTo>
                  <a:lnTo>
                    <a:pt x="250" y="1231"/>
                  </a:lnTo>
                  <a:lnTo>
                    <a:pt x="278" y="1217"/>
                  </a:lnTo>
                  <a:lnTo>
                    <a:pt x="299" y="1224"/>
                  </a:lnTo>
                  <a:lnTo>
                    <a:pt x="313" y="1197"/>
                  </a:lnTo>
                  <a:lnTo>
                    <a:pt x="327" y="1211"/>
                  </a:lnTo>
                  <a:lnTo>
                    <a:pt x="334" y="1183"/>
                  </a:lnTo>
                  <a:lnTo>
                    <a:pt x="361" y="1197"/>
                  </a:lnTo>
                  <a:lnTo>
                    <a:pt x="361" y="1231"/>
                  </a:lnTo>
                  <a:lnTo>
                    <a:pt x="396" y="1245"/>
                  </a:lnTo>
                  <a:lnTo>
                    <a:pt x="410" y="1231"/>
                  </a:lnTo>
                  <a:lnTo>
                    <a:pt x="424" y="1259"/>
                  </a:lnTo>
                  <a:lnTo>
                    <a:pt x="480" y="1266"/>
                  </a:lnTo>
                  <a:lnTo>
                    <a:pt x="480" y="1280"/>
                  </a:lnTo>
                  <a:lnTo>
                    <a:pt x="473" y="1294"/>
                  </a:lnTo>
                  <a:lnTo>
                    <a:pt x="501" y="1329"/>
                  </a:lnTo>
                  <a:lnTo>
                    <a:pt x="480" y="1391"/>
                  </a:lnTo>
                  <a:lnTo>
                    <a:pt x="480" y="1440"/>
                  </a:lnTo>
                  <a:lnTo>
                    <a:pt x="445" y="1440"/>
                  </a:lnTo>
                  <a:lnTo>
                    <a:pt x="445" y="1447"/>
                  </a:lnTo>
                  <a:lnTo>
                    <a:pt x="410" y="1524"/>
                  </a:lnTo>
                  <a:lnTo>
                    <a:pt x="382" y="1579"/>
                  </a:lnTo>
                  <a:lnTo>
                    <a:pt x="396" y="1579"/>
                  </a:lnTo>
                  <a:lnTo>
                    <a:pt x="445" y="1558"/>
                  </a:lnTo>
                  <a:lnTo>
                    <a:pt x="459" y="1593"/>
                  </a:lnTo>
                  <a:lnTo>
                    <a:pt x="494" y="1558"/>
                  </a:lnTo>
                  <a:lnTo>
                    <a:pt x="577" y="1551"/>
                  </a:lnTo>
                  <a:lnTo>
                    <a:pt x="591" y="1530"/>
                  </a:lnTo>
                  <a:lnTo>
                    <a:pt x="626" y="1544"/>
                  </a:lnTo>
                  <a:lnTo>
                    <a:pt x="626" y="1551"/>
                  </a:lnTo>
                  <a:lnTo>
                    <a:pt x="667" y="1530"/>
                  </a:lnTo>
                  <a:lnTo>
                    <a:pt x="695" y="1572"/>
                  </a:lnTo>
                  <a:lnTo>
                    <a:pt x="751" y="1586"/>
                  </a:lnTo>
                  <a:lnTo>
                    <a:pt x="786" y="1684"/>
                  </a:lnTo>
                  <a:lnTo>
                    <a:pt x="800" y="1684"/>
                  </a:lnTo>
                  <a:lnTo>
                    <a:pt x="862" y="1656"/>
                  </a:lnTo>
                  <a:lnTo>
                    <a:pt x="890" y="1656"/>
                  </a:lnTo>
                  <a:lnTo>
                    <a:pt x="897" y="1642"/>
                  </a:lnTo>
                  <a:lnTo>
                    <a:pt x="918" y="1642"/>
                  </a:lnTo>
                  <a:lnTo>
                    <a:pt x="918" y="1607"/>
                  </a:lnTo>
                  <a:lnTo>
                    <a:pt x="1015" y="1496"/>
                  </a:lnTo>
                  <a:lnTo>
                    <a:pt x="1022" y="1461"/>
                  </a:lnTo>
                  <a:lnTo>
                    <a:pt x="1147" y="1454"/>
                  </a:lnTo>
                  <a:lnTo>
                    <a:pt x="1182" y="1454"/>
                  </a:lnTo>
                  <a:lnTo>
                    <a:pt x="1266" y="1482"/>
                  </a:lnTo>
                  <a:lnTo>
                    <a:pt x="1266" y="1496"/>
                  </a:lnTo>
                  <a:lnTo>
                    <a:pt x="1293" y="1517"/>
                  </a:lnTo>
                  <a:lnTo>
                    <a:pt x="1321" y="1530"/>
                  </a:lnTo>
                  <a:lnTo>
                    <a:pt x="1293" y="1607"/>
                  </a:lnTo>
                  <a:lnTo>
                    <a:pt x="1342" y="1649"/>
                  </a:lnTo>
                  <a:lnTo>
                    <a:pt x="1398" y="1677"/>
                  </a:lnTo>
                  <a:lnTo>
                    <a:pt x="1447" y="1711"/>
                  </a:lnTo>
                  <a:lnTo>
                    <a:pt x="1481" y="1725"/>
                  </a:lnTo>
                  <a:lnTo>
                    <a:pt x="1551" y="1718"/>
                  </a:lnTo>
                  <a:lnTo>
                    <a:pt x="1586" y="1753"/>
                  </a:lnTo>
                  <a:lnTo>
                    <a:pt x="1634" y="1788"/>
                  </a:lnTo>
                  <a:lnTo>
                    <a:pt x="1641" y="1802"/>
                  </a:lnTo>
                  <a:lnTo>
                    <a:pt x="1648" y="1809"/>
                  </a:lnTo>
                  <a:lnTo>
                    <a:pt x="1676" y="1823"/>
                  </a:lnTo>
                  <a:lnTo>
                    <a:pt x="1704" y="1851"/>
                  </a:lnTo>
                  <a:lnTo>
                    <a:pt x="1739" y="1906"/>
                  </a:lnTo>
                  <a:lnTo>
                    <a:pt x="1808" y="1857"/>
                  </a:lnTo>
                  <a:lnTo>
                    <a:pt x="1899" y="1899"/>
                  </a:lnTo>
                  <a:lnTo>
                    <a:pt x="1941" y="1913"/>
                  </a:lnTo>
                  <a:lnTo>
                    <a:pt x="1982" y="1948"/>
                  </a:lnTo>
                  <a:lnTo>
                    <a:pt x="2003" y="1976"/>
                  </a:lnTo>
                  <a:lnTo>
                    <a:pt x="2038" y="1990"/>
                  </a:lnTo>
                  <a:lnTo>
                    <a:pt x="2094" y="1990"/>
                  </a:lnTo>
                  <a:lnTo>
                    <a:pt x="2135" y="2018"/>
                  </a:lnTo>
                  <a:lnTo>
                    <a:pt x="2128" y="2066"/>
                  </a:lnTo>
                  <a:lnTo>
                    <a:pt x="2149" y="2080"/>
                  </a:lnTo>
                  <a:lnTo>
                    <a:pt x="2177" y="2108"/>
                  </a:lnTo>
                  <a:lnTo>
                    <a:pt x="2177" y="2136"/>
                  </a:lnTo>
                  <a:lnTo>
                    <a:pt x="2184" y="2150"/>
                  </a:lnTo>
                  <a:lnTo>
                    <a:pt x="2274" y="2212"/>
                  </a:lnTo>
                  <a:lnTo>
                    <a:pt x="2274" y="2233"/>
                  </a:lnTo>
                  <a:lnTo>
                    <a:pt x="2323" y="2233"/>
                  </a:lnTo>
                  <a:lnTo>
                    <a:pt x="2344" y="2233"/>
                  </a:lnTo>
                  <a:lnTo>
                    <a:pt x="2344" y="2219"/>
                  </a:lnTo>
                  <a:lnTo>
                    <a:pt x="2344" y="2178"/>
                  </a:lnTo>
                  <a:lnTo>
                    <a:pt x="2379" y="2150"/>
                  </a:lnTo>
                  <a:lnTo>
                    <a:pt x="2434" y="2150"/>
                  </a:lnTo>
                  <a:lnTo>
                    <a:pt x="2490" y="2150"/>
                  </a:lnTo>
                  <a:lnTo>
                    <a:pt x="2567" y="2164"/>
                  </a:lnTo>
                  <a:lnTo>
                    <a:pt x="2601" y="2205"/>
                  </a:lnTo>
                  <a:lnTo>
                    <a:pt x="2664" y="2240"/>
                  </a:lnTo>
                  <a:lnTo>
                    <a:pt x="2699" y="2247"/>
                  </a:lnTo>
                  <a:lnTo>
                    <a:pt x="2727" y="2275"/>
                  </a:lnTo>
                  <a:lnTo>
                    <a:pt x="2740" y="2275"/>
                  </a:lnTo>
                  <a:lnTo>
                    <a:pt x="2768" y="2275"/>
                  </a:lnTo>
                  <a:lnTo>
                    <a:pt x="2803" y="2317"/>
                  </a:lnTo>
                  <a:lnTo>
                    <a:pt x="2803" y="2358"/>
                  </a:lnTo>
                  <a:lnTo>
                    <a:pt x="2831" y="2358"/>
                  </a:lnTo>
                  <a:lnTo>
                    <a:pt x="2915" y="2261"/>
                  </a:lnTo>
                  <a:lnTo>
                    <a:pt x="2970" y="2184"/>
                  </a:lnTo>
                  <a:lnTo>
                    <a:pt x="2991" y="2205"/>
                  </a:lnTo>
                  <a:lnTo>
                    <a:pt x="2970" y="2261"/>
                  </a:lnTo>
                  <a:lnTo>
                    <a:pt x="3019" y="2282"/>
                  </a:lnTo>
                  <a:lnTo>
                    <a:pt x="3047" y="2296"/>
                  </a:lnTo>
                  <a:lnTo>
                    <a:pt x="3116" y="2296"/>
                  </a:lnTo>
                  <a:lnTo>
                    <a:pt x="3123" y="2282"/>
                  </a:lnTo>
                  <a:lnTo>
                    <a:pt x="3179" y="2247"/>
                  </a:lnTo>
                  <a:lnTo>
                    <a:pt x="3283" y="2268"/>
                  </a:lnTo>
                  <a:lnTo>
                    <a:pt x="3290" y="2275"/>
                  </a:lnTo>
                  <a:lnTo>
                    <a:pt x="3374" y="2275"/>
                  </a:lnTo>
                  <a:lnTo>
                    <a:pt x="3394" y="2268"/>
                  </a:lnTo>
                  <a:lnTo>
                    <a:pt x="3394" y="2247"/>
                  </a:lnTo>
                  <a:lnTo>
                    <a:pt x="3318" y="2205"/>
                  </a:lnTo>
                  <a:lnTo>
                    <a:pt x="3290" y="2164"/>
                  </a:lnTo>
                  <a:lnTo>
                    <a:pt x="3415" y="2143"/>
                  </a:lnTo>
                  <a:lnTo>
                    <a:pt x="3429" y="2143"/>
                  </a:lnTo>
                  <a:lnTo>
                    <a:pt x="3450" y="2115"/>
                  </a:lnTo>
                  <a:lnTo>
                    <a:pt x="3492" y="2087"/>
                  </a:lnTo>
                  <a:lnTo>
                    <a:pt x="3513" y="2052"/>
                  </a:lnTo>
                  <a:lnTo>
                    <a:pt x="3568" y="2045"/>
                  </a:lnTo>
                  <a:lnTo>
                    <a:pt x="3603" y="2045"/>
                  </a:lnTo>
                  <a:lnTo>
                    <a:pt x="3603" y="2031"/>
                  </a:lnTo>
                  <a:lnTo>
                    <a:pt x="3666" y="1976"/>
                  </a:lnTo>
                  <a:lnTo>
                    <a:pt x="3714" y="2031"/>
                  </a:lnTo>
                  <a:lnTo>
                    <a:pt x="3707" y="2066"/>
                  </a:lnTo>
                  <a:lnTo>
                    <a:pt x="3721" y="2073"/>
                  </a:lnTo>
                  <a:lnTo>
                    <a:pt x="3770" y="2101"/>
                  </a:lnTo>
                  <a:lnTo>
                    <a:pt x="3805" y="2136"/>
                  </a:lnTo>
                  <a:lnTo>
                    <a:pt x="3819" y="2150"/>
                  </a:lnTo>
                  <a:lnTo>
                    <a:pt x="3833" y="2143"/>
                  </a:lnTo>
                  <a:lnTo>
                    <a:pt x="3868" y="2150"/>
                  </a:lnTo>
                  <a:lnTo>
                    <a:pt x="3881" y="2129"/>
                  </a:lnTo>
                  <a:lnTo>
                    <a:pt x="3965" y="2143"/>
                  </a:lnTo>
                  <a:lnTo>
                    <a:pt x="3972" y="2150"/>
                  </a:lnTo>
                  <a:lnTo>
                    <a:pt x="3979" y="2178"/>
                  </a:lnTo>
                  <a:lnTo>
                    <a:pt x="3951" y="2205"/>
                  </a:lnTo>
                  <a:lnTo>
                    <a:pt x="3930" y="2240"/>
                  </a:lnTo>
                  <a:lnTo>
                    <a:pt x="3930" y="2247"/>
                  </a:lnTo>
                  <a:lnTo>
                    <a:pt x="3979" y="2233"/>
                  </a:lnTo>
                  <a:lnTo>
                    <a:pt x="4028" y="2268"/>
                  </a:lnTo>
                  <a:lnTo>
                    <a:pt x="4048" y="2261"/>
                  </a:lnTo>
                  <a:lnTo>
                    <a:pt x="4097" y="2219"/>
                  </a:lnTo>
                  <a:lnTo>
                    <a:pt x="4139" y="2219"/>
                  </a:lnTo>
                  <a:lnTo>
                    <a:pt x="4194" y="2219"/>
                  </a:lnTo>
                  <a:lnTo>
                    <a:pt x="4201" y="2233"/>
                  </a:lnTo>
                  <a:lnTo>
                    <a:pt x="4201" y="2240"/>
                  </a:lnTo>
                  <a:lnTo>
                    <a:pt x="4167" y="2310"/>
                  </a:lnTo>
                  <a:lnTo>
                    <a:pt x="4111" y="2393"/>
                  </a:lnTo>
                  <a:lnTo>
                    <a:pt x="4083" y="2442"/>
                  </a:lnTo>
                  <a:lnTo>
                    <a:pt x="4041" y="2449"/>
                  </a:lnTo>
                  <a:lnTo>
                    <a:pt x="4048" y="2491"/>
                  </a:lnTo>
                  <a:lnTo>
                    <a:pt x="4034" y="2491"/>
                  </a:lnTo>
                  <a:lnTo>
                    <a:pt x="4028" y="2504"/>
                  </a:lnTo>
                  <a:lnTo>
                    <a:pt x="4048" y="2546"/>
                  </a:lnTo>
                  <a:lnTo>
                    <a:pt x="4104" y="2595"/>
                  </a:lnTo>
                  <a:lnTo>
                    <a:pt x="4083" y="2630"/>
                  </a:lnTo>
                  <a:lnTo>
                    <a:pt x="4139" y="2664"/>
                  </a:lnTo>
                  <a:lnTo>
                    <a:pt x="4139" y="2706"/>
                  </a:lnTo>
                  <a:lnTo>
                    <a:pt x="4139" y="2762"/>
                  </a:lnTo>
                  <a:lnTo>
                    <a:pt x="4222" y="2818"/>
                  </a:lnTo>
                  <a:lnTo>
                    <a:pt x="4264" y="2831"/>
                  </a:lnTo>
                  <a:lnTo>
                    <a:pt x="4299" y="2866"/>
                  </a:lnTo>
                  <a:lnTo>
                    <a:pt x="4354" y="2908"/>
                  </a:lnTo>
                  <a:lnTo>
                    <a:pt x="4361" y="2908"/>
                  </a:lnTo>
                  <a:lnTo>
                    <a:pt x="4403" y="2901"/>
                  </a:lnTo>
                  <a:lnTo>
                    <a:pt x="4452" y="2908"/>
                  </a:lnTo>
                  <a:lnTo>
                    <a:pt x="4473" y="2908"/>
                  </a:lnTo>
                  <a:lnTo>
                    <a:pt x="4473" y="2936"/>
                  </a:lnTo>
                  <a:lnTo>
                    <a:pt x="4528" y="2964"/>
                  </a:lnTo>
                  <a:lnTo>
                    <a:pt x="4591" y="3019"/>
                  </a:lnTo>
                  <a:lnTo>
                    <a:pt x="4633" y="3019"/>
                  </a:lnTo>
                  <a:lnTo>
                    <a:pt x="4681" y="3026"/>
                  </a:lnTo>
                  <a:lnTo>
                    <a:pt x="4716" y="3047"/>
                  </a:lnTo>
                  <a:lnTo>
                    <a:pt x="4730" y="3061"/>
                  </a:lnTo>
                  <a:lnTo>
                    <a:pt x="4786" y="3033"/>
                  </a:lnTo>
                  <a:lnTo>
                    <a:pt x="4765" y="3005"/>
                  </a:lnTo>
                  <a:lnTo>
                    <a:pt x="4772" y="2957"/>
                  </a:lnTo>
                  <a:lnTo>
                    <a:pt x="4800" y="2936"/>
                  </a:lnTo>
                  <a:lnTo>
                    <a:pt x="4800" y="2901"/>
                  </a:lnTo>
                  <a:lnTo>
                    <a:pt x="4855" y="2859"/>
                  </a:lnTo>
                  <a:lnTo>
                    <a:pt x="4835" y="2824"/>
                  </a:lnTo>
                  <a:lnTo>
                    <a:pt x="4848" y="2797"/>
                  </a:lnTo>
                  <a:lnTo>
                    <a:pt x="4869" y="2762"/>
                  </a:lnTo>
                  <a:lnTo>
                    <a:pt x="4890" y="2720"/>
                  </a:lnTo>
                  <a:lnTo>
                    <a:pt x="4869" y="2699"/>
                  </a:lnTo>
                  <a:lnTo>
                    <a:pt x="4883" y="2658"/>
                  </a:lnTo>
                  <a:lnTo>
                    <a:pt x="4890" y="2658"/>
                  </a:lnTo>
                  <a:lnTo>
                    <a:pt x="4932" y="2671"/>
                  </a:lnTo>
                  <a:lnTo>
                    <a:pt x="4946" y="2678"/>
                  </a:lnTo>
                  <a:lnTo>
                    <a:pt x="4981" y="2692"/>
                  </a:lnTo>
                  <a:lnTo>
                    <a:pt x="4981" y="2671"/>
                  </a:lnTo>
                  <a:lnTo>
                    <a:pt x="4994" y="2671"/>
                  </a:lnTo>
                  <a:lnTo>
                    <a:pt x="5029" y="2678"/>
                  </a:lnTo>
                  <a:lnTo>
                    <a:pt x="5029" y="2664"/>
                  </a:lnTo>
                  <a:lnTo>
                    <a:pt x="5057" y="2643"/>
                  </a:lnTo>
                  <a:lnTo>
                    <a:pt x="5092" y="2643"/>
                  </a:lnTo>
                  <a:lnTo>
                    <a:pt x="5127" y="2609"/>
                  </a:lnTo>
                  <a:lnTo>
                    <a:pt x="5148" y="2574"/>
                  </a:lnTo>
                  <a:lnTo>
                    <a:pt x="5182" y="2595"/>
                  </a:lnTo>
                  <a:lnTo>
                    <a:pt x="5189" y="2602"/>
                  </a:lnTo>
                  <a:lnTo>
                    <a:pt x="5224" y="2574"/>
                  </a:lnTo>
                  <a:lnTo>
                    <a:pt x="5252" y="2574"/>
                  </a:lnTo>
                  <a:lnTo>
                    <a:pt x="5273" y="2574"/>
                  </a:lnTo>
                  <a:lnTo>
                    <a:pt x="5280" y="2595"/>
                  </a:lnTo>
                  <a:lnTo>
                    <a:pt x="5294" y="2595"/>
                  </a:lnTo>
                  <a:lnTo>
                    <a:pt x="5308" y="2574"/>
                  </a:lnTo>
                  <a:lnTo>
                    <a:pt x="5328" y="2588"/>
                  </a:lnTo>
                  <a:lnTo>
                    <a:pt x="5356" y="2560"/>
                  </a:lnTo>
                  <a:lnTo>
                    <a:pt x="5454" y="2511"/>
                  </a:lnTo>
                  <a:lnTo>
                    <a:pt x="5454" y="2546"/>
                  </a:lnTo>
                  <a:lnTo>
                    <a:pt x="5447" y="2588"/>
                  </a:lnTo>
                  <a:lnTo>
                    <a:pt x="5467" y="2623"/>
                  </a:lnTo>
                  <a:lnTo>
                    <a:pt x="5440" y="2664"/>
                  </a:lnTo>
                  <a:lnTo>
                    <a:pt x="5419" y="2671"/>
                  </a:lnTo>
                  <a:lnTo>
                    <a:pt x="5481" y="2720"/>
                  </a:lnTo>
                  <a:lnTo>
                    <a:pt x="5488" y="2720"/>
                  </a:lnTo>
                  <a:lnTo>
                    <a:pt x="5488" y="2755"/>
                  </a:lnTo>
                  <a:lnTo>
                    <a:pt x="5481" y="2762"/>
                  </a:lnTo>
                  <a:lnTo>
                    <a:pt x="5488" y="2776"/>
                  </a:lnTo>
                  <a:lnTo>
                    <a:pt x="5502" y="2790"/>
                  </a:lnTo>
                  <a:lnTo>
                    <a:pt x="5516" y="2790"/>
                  </a:lnTo>
                  <a:lnTo>
                    <a:pt x="5537" y="2776"/>
                  </a:lnTo>
                  <a:lnTo>
                    <a:pt x="5551" y="2741"/>
                  </a:lnTo>
                  <a:lnTo>
                    <a:pt x="5578" y="2734"/>
                  </a:lnTo>
                  <a:lnTo>
                    <a:pt x="5578" y="2790"/>
                  </a:lnTo>
                  <a:lnTo>
                    <a:pt x="5606" y="2790"/>
                  </a:lnTo>
                  <a:lnTo>
                    <a:pt x="5606" y="2831"/>
                  </a:lnTo>
                  <a:lnTo>
                    <a:pt x="5620" y="2831"/>
                  </a:lnTo>
                  <a:lnTo>
                    <a:pt x="5633" y="2831"/>
                  </a:lnTo>
                  <a:lnTo>
                    <a:pt x="5620" y="2866"/>
                  </a:lnTo>
                  <a:lnTo>
                    <a:pt x="5633" y="2873"/>
                  </a:lnTo>
                  <a:lnTo>
                    <a:pt x="5668" y="2873"/>
                  </a:lnTo>
                  <a:lnTo>
                    <a:pt x="5738" y="2873"/>
                  </a:lnTo>
                  <a:lnTo>
                    <a:pt x="5738" y="2818"/>
                  </a:lnTo>
                  <a:lnTo>
                    <a:pt x="5766" y="2818"/>
                  </a:lnTo>
                  <a:lnTo>
                    <a:pt x="5800" y="2797"/>
                  </a:lnTo>
                  <a:lnTo>
                    <a:pt x="5814" y="2776"/>
                  </a:lnTo>
                  <a:lnTo>
                    <a:pt x="5828" y="2769"/>
                  </a:lnTo>
                  <a:lnTo>
                    <a:pt x="5800" y="2755"/>
                  </a:lnTo>
                  <a:lnTo>
                    <a:pt x="5828" y="2727"/>
                  </a:lnTo>
                  <a:lnTo>
                    <a:pt x="5814" y="2678"/>
                  </a:lnTo>
                  <a:lnTo>
                    <a:pt x="5814" y="2643"/>
                  </a:lnTo>
                  <a:lnTo>
                    <a:pt x="5835" y="2623"/>
                  </a:lnTo>
                  <a:lnTo>
                    <a:pt x="5842" y="2595"/>
                  </a:lnTo>
                  <a:lnTo>
                    <a:pt x="5849" y="2560"/>
                  </a:lnTo>
                  <a:lnTo>
                    <a:pt x="5842" y="2560"/>
                  </a:lnTo>
                  <a:lnTo>
                    <a:pt x="5800" y="2546"/>
                  </a:lnTo>
                  <a:lnTo>
                    <a:pt x="5745" y="2525"/>
                  </a:lnTo>
                  <a:lnTo>
                    <a:pt x="5647" y="2435"/>
                  </a:lnTo>
                  <a:lnTo>
                    <a:pt x="5557" y="2317"/>
                  </a:lnTo>
                  <a:lnTo>
                    <a:pt x="5537" y="2330"/>
                  </a:lnTo>
                  <a:lnTo>
                    <a:pt x="5440" y="2240"/>
                  </a:lnTo>
                  <a:lnTo>
                    <a:pt x="5349" y="2136"/>
                  </a:lnTo>
                  <a:lnTo>
                    <a:pt x="5342" y="2129"/>
                  </a:lnTo>
                  <a:lnTo>
                    <a:pt x="5342" y="2115"/>
                  </a:lnTo>
                  <a:lnTo>
                    <a:pt x="5321" y="2108"/>
                  </a:lnTo>
                  <a:lnTo>
                    <a:pt x="5245" y="2003"/>
                  </a:lnTo>
                  <a:lnTo>
                    <a:pt x="5189" y="1837"/>
                  </a:lnTo>
                  <a:lnTo>
                    <a:pt x="5148" y="1705"/>
                  </a:lnTo>
                  <a:lnTo>
                    <a:pt x="5141" y="1607"/>
                  </a:lnTo>
                  <a:lnTo>
                    <a:pt x="5113" y="1530"/>
                  </a:lnTo>
                  <a:lnTo>
                    <a:pt x="5078" y="1412"/>
                  </a:lnTo>
                  <a:lnTo>
                    <a:pt x="5085" y="1155"/>
                  </a:lnTo>
                  <a:lnTo>
                    <a:pt x="5064" y="1113"/>
                  </a:lnTo>
                  <a:lnTo>
                    <a:pt x="5057" y="1127"/>
                  </a:lnTo>
                  <a:lnTo>
                    <a:pt x="5050" y="1120"/>
                  </a:lnTo>
                  <a:lnTo>
                    <a:pt x="5015" y="1002"/>
                  </a:lnTo>
                  <a:lnTo>
                    <a:pt x="5022" y="828"/>
                  </a:lnTo>
                  <a:lnTo>
                    <a:pt x="5078" y="696"/>
                  </a:lnTo>
                  <a:lnTo>
                    <a:pt x="5078" y="689"/>
                  </a:lnTo>
                  <a:lnTo>
                    <a:pt x="5029" y="703"/>
                  </a:lnTo>
                  <a:lnTo>
                    <a:pt x="5078" y="668"/>
                  </a:lnTo>
                  <a:lnTo>
                    <a:pt x="5078" y="640"/>
                  </a:lnTo>
                  <a:lnTo>
                    <a:pt x="5113" y="626"/>
                  </a:lnTo>
                  <a:lnTo>
                    <a:pt x="5161" y="640"/>
                  </a:lnTo>
                  <a:lnTo>
                    <a:pt x="5182" y="696"/>
                  </a:lnTo>
                  <a:lnTo>
                    <a:pt x="5210" y="731"/>
                  </a:lnTo>
                  <a:lnTo>
                    <a:pt x="5189" y="731"/>
                  </a:lnTo>
                  <a:lnTo>
                    <a:pt x="5259" y="758"/>
                  </a:lnTo>
                  <a:lnTo>
                    <a:pt x="5182" y="689"/>
                  </a:lnTo>
                  <a:lnTo>
                    <a:pt x="5175" y="626"/>
                  </a:lnTo>
                  <a:lnTo>
                    <a:pt x="5099" y="612"/>
                  </a:lnTo>
                  <a:lnTo>
                    <a:pt x="5078" y="577"/>
                  </a:lnTo>
                  <a:lnTo>
                    <a:pt x="5085" y="536"/>
                  </a:lnTo>
                  <a:lnTo>
                    <a:pt x="5078" y="501"/>
                  </a:lnTo>
                  <a:lnTo>
                    <a:pt x="5092" y="459"/>
                  </a:lnTo>
                  <a:lnTo>
                    <a:pt x="5064" y="425"/>
                  </a:lnTo>
                  <a:lnTo>
                    <a:pt x="5043" y="438"/>
                  </a:lnTo>
                  <a:lnTo>
                    <a:pt x="5043" y="425"/>
                  </a:lnTo>
                  <a:lnTo>
                    <a:pt x="5029" y="431"/>
                  </a:lnTo>
                  <a:lnTo>
                    <a:pt x="5015" y="438"/>
                  </a:lnTo>
                  <a:lnTo>
                    <a:pt x="4987" y="466"/>
                  </a:lnTo>
                  <a:lnTo>
                    <a:pt x="4925" y="466"/>
                  </a:lnTo>
                  <a:lnTo>
                    <a:pt x="4890" y="431"/>
                  </a:lnTo>
                  <a:lnTo>
                    <a:pt x="4869" y="445"/>
                  </a:lnTo>
                  <a:lnTo>
                    <a:pt x="4848" y="459"/>
                  </a:lnTo>
                  <a:lnTo>
                    <a:pt x="4800" y="425"/>
                  </a:lnTo>
                  <a:lnTo>
                    <a:pt x="4800" y="397"/>
                  </a:lnTo>
                  <a:lnTo>
                    <a:pt x="4772" y="390"/>
                  </a:lnTo>
                  <a:lnTo>
                    <a:pt x="4772" y="362"/>
                  </a:lnTo>
                  <a:lnTo>
                    <a:pt x="4751" y="369"/>
                  </a:lnTo>
                  <a:lnTo>
                    <a:pt x="4737" y="362"/>
                  </a:lnTo>
                  <a:lnTo>
                    <a:pt x="4716" y="369"/>
                  </a:lnTo>
                  <a:lnTo>
                    <a:pt x="4695" y="348"/>
                  </a:lnTo>
                  <a:lnTo>
                    <a:pt x="4633" y="348"/>
                  </a:lnTo>
                  <a:lnTo>
                    <a:pt x="4591" y="334"/>
                  </a:lnTo>
                  <a:lnTo>
                    <a:pt x="4556" y="327"/>
                  </a:lnTo>
                  <a:lnTo>
                    <a:pt x="4493" y="348"/>
                  </a:lnTo>
                  <a:lnTo>
                    <a:pt x="4361" y="362"/>
                  </a:lnTo>
                  <a:lnTo>
                    <a:pt x="4341" y="362"/>
                  </a:lnTo>
                  <a:lnTo>
                    <a:pt x="4278" y="348"/>
                  </a:lnTo>
                  <a:lnTo>
                    <a:pt x="4236" y="390"/>
                  </a:lnTo>
                  <a:lnTo>
                    <a:pt x="4194" y="397"/>
                  </a:lnTo>
                  <a:lnTo>
                    <a:pt x="4180" y="411"/>
                  </a:lnTo>
                  <a:lnTo>
                    <a:pt x="4180" y="445"/>
                  </a:lnTo>
                  <a:lnTo>
                    <a:pt x="4160" y="459"/>
                  </a:lnTo>
                  <a:lnTo>
                    <a:pt x="4041" y="501"/>
                  </a:lnTo>
                  <a:lnTo>
                    <a:pt x="4000" y="536"/>
                  </a:lnTo>
                  <a:lnTo>
                    <a:pt x="3937" y="536"/>
                  </a:lnTo>
                  <a:lnTo>
                    <a:pt x="3930" y="494"/>
                  </a:lnTo>
                  <a:lnTo>
                    <a:pt x="3868" y="459"/>
                  </a:lnTo>
                  <a:lnTo>
                    <a:pt x="3833" y="438"/>
                  </a:lnTo>
                  <a:lnTo>
                    <a:pt x="3735" y="438"/>
                  </a:lnTo>
                  <a:lnTo>
                    <a:pt x="3721" y="438"/>
                  </a:lnTo>
                  <a:lnTo>
                    <a:pt x="3666" y="459"/>
                  </a:lnTo>
                  <a:lnTo>
                    <a:pt x="3666" y="411"/>
                  </a:lnTo>
                  <a:lnTo>
                    <a:pt x="3617" y="404"/>
                  </a:lnTo>
                  <a:lnTo>
                    <a:pt x="3582" y="397"/>
                  </a:lnTo>
                  <a:lnTo>
                    <a:pt x="3555" y="411"/>
                  </a:lnTo>
                  <a:lnTo>
                    <a:pt x="3506" y="390"/>
                  </a:lnTo>
                  <a:lnTo>
                    <a:pt x="3478" y="397"/>
                  </a:lnTo>
                  <a:lnTo>
                    <a:pt x="3471" y="390"/>
                  </a:lnTo>
                  <a:lnTo>
                    <a:pt x="3471" y="397"/>
                  </a:lnTo>
                  <a:lnTo>
                    <a:pt x="3429" y="397"/>
                  </a:lnTo>
                  <a:lnTo>
                    <a:pt x="3415" y="431"/>
                  </a:lnTo>
                  <a:lnTo>
                    <a:pt x="3374" y="41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2" name="Freeform 91"/>
            <p:cNvSpPr>
              <a:spLocks noChangeArrowheads="1"/>
            </p:cNvSpPr>
            <p:nvPr/>
          </p:nvSpPr>
          <p:spPr bwMode="auto">
            <a:xfrm>
              <a:off x="13724362" y="5015281"/>
              <a:ext cx="1990337" cy="917561"/>
            </a:xfrm>
            <a:custGeom>
              <a:avLst/>
              <a:gdLst>
                <a:gd name="T0" fmla="*/ 877 w 4238"/>
                <a:gd name="T1" fmla="*/ 1134 h 1955"/>
                <a:gd name="T2" fmla="*/ 953 w 4238"/>
                <a:gd name="T3" fmla="*/ 1015 h 1955"/>
                <a:gd name="T4" fmla="*/ 932 w 4238"/>
                <a:gd name="T5" fmla="*/ 807 h 1955"/>
                <a:gd name="T6" fmla="*/ 1078 w 4238"/>
                <a:gd name="T7" fmla="*/ 695 h 1955"/>
                <a:gd name="T8" fmla="*/ 1141 w 4238"/>
                <a:gd name="T9" fmla="*/ 605 h 1955"/>
                <a:gd name="T10" fmla="*/ 1204 w 4238"/>
                <a:gd name="T11" fmla="*/ 410 h 1955"/>
                <a:gd name="T12" fmla="*/ 1343 w 4238"/>
                <a:gd name="T13" fmla="*/ 382 h 1955"/>
                <a:gd name="T14" fmla="*/ 1447 w 4238"/>
                <a:gd name="T15" fmla="*/ 438 h 1955"/>
                <a:gd name="T16" fmla="*/ 1572 w 4238"/>
                <a:gd name="T17" fmla="*/ 382 h 1955"/>
                <a:gd name="T18" fmla="*/ 1802 w 4238"/>
                <a:gd name="T19" fmla="*/ 313 h 1955"/>
                <a:gd name="T20" fmla="*/ 1865 w 4238"/>
                <a:gd name="T21" fmla="*/ 195 h 1955"/>
                <a:gd name="T22" fmla="*/ 2045 w 4238"/>
                <a:gd name="T23" fmla="*/ 271 h 1955"/>
                <a:gd name="T24" fmla="*/ 2143 w 4238"/>
                <a:gd name="T25" fmla="*/ 368 h 1955"/>
                <a:gd name="T26" fmla="*/ 2351 w 4238"/>
                <a:gd name="T27" fmla="*/ 236 h 1955"/>
                <a:gd name="T28" fmla="*/ 2338 w 4238"/>
                <a:gd name="T29" fmla="*/ 41 h 1955"/>
                <a:gd name="T30" fmla="*/ 2532 w 4238"/>
                <a:gd name="T31" fmla="*/ 69 h 1955"/>
                <a:gd name="T32" fmla="*/ 2811 w 4238"/>
                <a:gd name="T33" fmla="*/ 174 h 1955"/>
                <a:gd name="T34" fmla="*/ 2950 w 4238"/>
                <a:gd name="T35" fmla="*/ 139 h 1955"/>
                <a:gd name="T36" fmla="*/ 3138 w 4238"/>
                <a:gd name="T37" fmla="*/ 195 h 1955"/>
                <a:gd name="T38" fmla="*/ 3291 w 4238"/>
                <a:gd name="T39" fmla="*/ 250 h 1955"/>
                <a:gd name="T40" fmla="*/ 3256 w 4238"/>
                <a:gd name="T41" fmla="*/ 431 h 1955"/>
                <a:gd name="T42" fmla="*/ 3388 w 4238"/>
                <a:gd name="T43" fmla="*/ 535 h 1955"/>
                <a:gd name="T44" fmla="*/ 3597 w 4238"/>
                <a:gd name="T45" fmla="*/ 668 h 1955"/>
                <a:gd name="T46" fmla="*/ 3826 w 4238"/>
                <a:gd name="T47" fmla="*/ 855 h 1955"/>
                <a:gd name="T48" fmla="*/ 3937 w 4238"/>
                <a:gd name="T49" fmla="*/ 1029 h 1955"/>
                <a:gd name="T50" fmla="*/ 3958 w 4238"/>
                <a:gd name="T51" fmla="*/ 1120 h 1955"/>
                <a:gd name="T52" fmla="*/ 4118 w 4238"/>
                <a:gd name="T53" fmla="*/ 1280 h 1955"/>
                <a:gd name="T54" fmla="*/ 4160 w 4238"/>
                <a:gd name="T55" fmla="*/ 1377 h 1955"/>
                <a:gd name="T56" fmla="*/ 3972 w 4238"/>
                <a:gd name="T57" fmla="*/ 1301 h 1955"/>
                <a:gd name="T58" fmla="*/ 3833 w 4238"/>
                <a:gd name="T59" fmla="*/ 1280 h 1955"/>
                <a:gd name="T60" fmla="*/ 3847 w 4238"/>
                <a:gd name="T61" fmla="*/ 1363 h 1955"/>
                <a:gd name="T62" fmla="*/ 3576 w 4238"/>
                <a:gd name="T63" fmla="*/ 1162 h 1955"/>
                <a:gd name="T64" fmla="*/ 3402 w 4238"/>
                <a:gd name="T65" fmla="*/ 1050 h 1955"/>
                <a:gd name="T66" fmla="*/ 3151 w 4238"/>
                <a:gd name="T67" fmla="*/ 925 h 1955"/>
                <a:gd name="T68" fmla="*/ 2880 w 4238"/>
                <a:gd name="T69" fmla="*/ 723 h 1955"/>
                <a:gd name="T70" fmla="*/ 2720 w 4238"/>
                <a:gd name="T71" fmla="*/ 765 h 1955"/>
                <a:gd name="T72" fmla="*/ 2518 w 4238"/>
                <a:gd name="T73" fmla="*/ 640 h 1955"/>
                <a:gd name="T74" fmla="*/ 2386 w 4238"/>
                <a:gd name="T75" fmla="*/ 605 h 1955"/>
                <a:gd name="T76" fmla="*/ 2338 w 4238"/>
                <a:gd name="T77" fmla="*/ 570 h 1955"/>
                <a:gd name="T78" fmla="*/ 2331 w 4238"/>
                <a:gd name="T79" fmla="*/ 598 h 1955"/>
                <a:gd name="T80" fmla="*/ 2296 w 4238"/>
                <a:gd name="T81" fmla="*/ 591 h 1955"/>
                <a:gd name="T82" fmla="*/ 2275 w 4238"/>
                <a:gd name="T83" fmla="*/ 570 h 1955"/>
                <a:gd name="T84" fmla="*/ 2219 w 4238"/>
                <a:gd name="T85" fmla="*/ 542 h 1955"/>
                <a:gd name="T86" fmla="*/ 2143 w 4238"/>
                <a:gd name="T87" fmla="*/ 542 h 1955"/>
                <a:gd name="T88" fmla="*/ 1871 w 4238"/>
                <a:gd name="T89" fmla="*/ 640 h 1955"/>
                <a:gd name="T90" fmla="*/ 1635 w 4238"/>
                <a:gd name="T91" fmla="*/ 793 h 1955"/>
                <a:gd name="T92" fmla="*/ 1531 w 4238"/>
                <a:gd name="T93" fmla="*/ 1036 h 1955"/>
                <a:gd name="T94" fmla="*/ 1225 w 4238"/>
                <a:gd name="T95" fmla="*/ 1252 h 1955"/>
                <a:gd name="T96" fmla="*/ 1120 w 4238"/>
                <a:gd name="T97" fmla="*/ 1572 h 1955"/>
                <a:gd name="T98" fmla="*/ 912 w 4238"/>
                <a:gd name="T99" fmla="*/ 1725 h 1955"/>
                <a:gd name="T100" fmla="*/ 605 w 4238"/>
                <a:gd name="T101" fmla="*/ 1836 h 1955"/>
                <a:gd name="T102" fmla="*/ 258 w 4238"/>
                <a:gd name="T103" fmla="*/ 1954 h 1955"/>
                <a:gd name="T104" fmla="*/ 42 w 4238"/>
                <a:gd name="T105" fmla="*/ 1718 h 1955"/>
                <a:gd name="T106" fmla="*/ 237 w 4238"/>
                <a:gd name="T107" fmla="*/ 1544 h 1955"/>
                <a:gd name="T108" fmla="*/ 418 w 4238"/>
                <a:gd name="T109" fmla="*/ 1301 h 1955"/>
                <a:gd name="T110" fmla="*/ 564 w 4238"/>
                <a:gd name="T111" fmla="*/ 1217 h 1955"/>
                <a:gd name="T112" fmla="*/ 779 w 4238"/>
                <a:gd name="T113" fmla="*/ 1231 h 1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38" h="1955">
                  <a:moveTo>
                    <a:pt x="856" y="1231"/>
                  </a:moveTo>
                  <a:lnTo>
                    <a:pt x="856" y="1217"/>
                  </a:lnTo>
                  <a:lnTo>
                    <a:pt x="821" y="1196"/>
                  </a:lnTo>
                  <a:lnTo>
                    <a:pt x="821" y="1189"/>
                  </a:lnTo>
                  <a:lnTo>
                    <a:pt x="800" y="1182"/>
                  </a:lnTo>
                  <a:lnTo>
                    <a:pt x="828" y="1148"/>
                  </a:lnTo>
                  <a:lnTo>
                    <a:pt x="877" y="1134"/>
                  </a:lnTo>
                  <a:lnTo>
                    <a:pt x="912" y="1162"/>
                  </a:lnTo>
                  <a:lnTo>
                    <a:pt x="953" y="1148"/>
                  </a:lnTo>
                  <a:lnTo>
                    <a:pt x="974" y="1113"/>
                  </a:lnTo>
                  <a:lnTo>
                    <a:pt x="988" y="1099"/>
                  </a:lnTo>
                  <a:lnTo>
                    <a:pt x="988" y="1057"/>
                  </a:lnTo>
                  <a:lnTo>
                    <a:pt x="981" y="1029"/>
                  </a:lnTo>
                  <a:lnTo>
                    <a:pt x="953" y="1015"/>
                  </a:lnTo>
                  <a:lnTo>
                    <a:pt x="946" y="987"/>
                  </a:lnTo>
                  <a:lnTo>
                    <a:pt x="946" y="974"/>
                  </a:lnTo>
                  <a:lnTo>
                    <a:pt x="960" y="960"/>
                  </a:lnTo>
                  <a:lnTo>
                    <a:pt x="932" y="925"/>
                  </a:lnTo>
                  <a:lnTo>
                    <a:pt x="981" y="869"/>
                  </a:lnTo>
                  <a:lnTo>
                    <a:pt x="932" y="841"/>
                  </a:lnTo>
                  <a:lnTo>
                    <a:pt x="932" y="807"/>
                  </a:lnTo>
                  <a:lnTo>
                    <a:pt x="974" y="793"/>
                  </a:lnTo>
                  <a:lnTo>
                    <a:pt x="1009" y="821"/>
                  </a:lnTo>
                  <a:lnTo>
                    <a:pt x="1009" y="765"/>
                  </a:lnTo>
                  <a:lnTo>
                    <a:pt x="1023" y="744"/>
                  </a:lnTo>
                  <a:lnTo>
                    <a:pt x="1030" y="744"/>
                  </a:lnTo>
                  <a:lnTo>
                    <a:pt x="1058" y="744"/>
                  </a:lnTo>
                  <a:lnTo>
                    <a:pt x="1078" y="695"/>
                  </a:lnTo>
                  <a:lnTo>
                    <a:pt x="1071" y="668"/>
                  </a:lnTo>
                  <a:lnTo>
                    <a:pt x="1078" y="661"/>
                  </a:lnTo>
                  <a:lnTo>
                    <a:pt x="1078" y="640"/>
                  </a:lnTo>
                  <a:lnTo>
                    <a:pt x="1078" y="633"/>
                  </a:lnTo>
                  <a:lnTo>
                    <a:pt x="1085" y="633"/>
                  </a:lnTo>
                  <a:lnTo>
                    <a:pt x="1113" y="612"/>
                  </a:lnTo>
                  <a:lnTo>
                    <a:pt x="1141" y="605"/>
                  </a:lnTo>
                  <a:lnTo>
                    <a:pt x="1176" y="577"/>
                  </a:lnTo>
                  <a:lnTo>
                    <a:pt x="1190" y="542"/>
                  </a:lnTo>
                  <a:lnTo>
                    <a:pt x="1176" y="494"/>
                  </a:lnTo>
                  <a:lnTo>
                    <a:pt x="1176" y="480"/>
                  </a:lnTo>
                  <a:lnTo>
                    <a:pt x="1155" y="459"/>
                  </a:lnTo>
                  <a:lnTo>
                    <a:pt x="1162" y="431"/>
                  </a:lnTo>
                  <a:lnTo>
                    <a:pt x="1204" y="410"/>
                  </a:lnTo>
                  <a:lnTo>
                    <a:pt x="1211" y="396"/>
                  </a:lnTo>
                  <a:lnTo>
                    <a:pt x="1190" y="396"/>
                  </a:lnTo>
                  <a:lnTo>
                    <a:pt x="1218" y="341"/>
                  </a:lnTo>
                  <a:lnTo>
                    <a:pt x="1252" y="313"/>
                  </a:lnTo>
                  <a:lnTo>
                    <a:pt x="1259" y="341"/>
                  </a:lnTo>
                  <a:lnTo>
                    <a:pt x="1287" y="368"/>
                  </a:lnTo>
                  <a:lnTo>
                    <a:pt x="1343" y="382"/>
                  </a:lnTo>
                  <a:lnTo>
                    <a:pt x="1350" y="382"/>
                  </a:lnTo>
                  <a:lnTo>
                    <a:pt x="1357" y="403"/>
                  </a:lnTo>
                  <a:lnTo>
                    <a:pt x="1385" y="410"/>
                  </a:lnTo>
                  <a:lnTo>
                    <a:pt x="1412" y="431"/>
                  </a:lnTo>
                  <a:lnTo>
                    <a:pt x="1433" y="445"/>
                  </a:lnTo>
                  <a:lnTo>
                    <a:pt x="1440" y="445"/>
                  </a:lnTo>
                  <a:lnTo>
                    <a:pt x="1447" y="438"/>
                  </a:lnTo>
                  <a:lnTo>
                    <a:pt x="1475" y="431"/>
                  </a:lnTo>
                  <a:lnTo>
                    <a:pt x="1489" y="403"/>
                  </a:lnTo>
                  <a:lnTo>
                    <a:pt x="1503" y="362"/>
                  </a:lnTo>
                  <a:lnTo>
                    <a:pt x="1531" y="362"/>
                  </a:lnTo>
                  <a:lnTo>
                    <a:pt x="1544" y="375"/>
                  </a:lnTo>
                  <a:lnTo>
                    <a:pt x="1565" y="375"/>
                  </a:lnTo>
                  <a:lnTo>
                    <a:pt x="1572" y="382"/>
                  </a:lnTo>
                  <a:lnTo>
                    <a:pt x="1607" y="334"/>
                  </a:lnTo>
                  <a:lnTo>
                    <a:pt x="1621" y="362"/>
                  </a:lnTo>
                  <a:lnTo>
                    <a:pt x="1732" y="362"/>
                  </a:lnTo>
                  <a:lnTo>
                    <a:pt x="1760" y="368"/>
                  </a:lnTo>
                  <a:lnTo>
                    <a:pt x="1781" y="368"/>
                  </a:lnTo>
                  <a:lnTo>
                    <a:pt x="1774" y="334"/>
                  </a:lnTo>
                  <a:lnTo>
                    <a:pt x="1802" y="313"/>
                  </a:lnTo>
                  <a:lnTo>
                    <a:pt x="1830" y="299"/>
                  </a:lnTo>
                  <a:lnTo>
                    <a:pt x="1837" y="271"/>
                  </a:lnTo>
                  <a:lnTo>
                    <a:pt x="1816" y="243"/>
                  </a:lnTo>
                  <a:lnTo>
                    <a:pt x="1837" y="229"/>
                  </a:lnTo>
                  <a:lnTo>
                    <a:pt x="1837" y="215"/>
                  </a:lnTo>
                  <a:lnTo>
                    <a:pt x="1851" y="201"/>
                  </a:lnTo>
                  <a:lnTo>
                    <a:pt x="1865" y="195"/>
                  </a:lnTo>
                  <a:lnTo>
                    <a:pt x="1865" y="201"/>
                  </a:lnTo>
                  <a:lnTo>
                    <a:pt x="1927" y="201"/>
                  </a:lnTo>
                  <a:lnTo>
                    <a:pt x="1969" y="208"/>
                  </a:lnTo>
                  <a:lnTo>
                    <a:pt x="1969" y="201"/>
                  </a:lnTo>
                  <a:lnTo>
                    <a:pt x="2031" y="215"/>
                  </a:lnTo>
                  <a:lnTo>
                    <a:pt x="2038" y="229"/>
                  </a:lnTo>
                  <a:lnTo>
                    <a:pt x="2045" y="271"/>
                  </a:lnTo>
                  <a:lnTo>
                    <a:pt x="2066" y="285"/>
                  </a:lnTo>
                  <a:lnTo>
                    <a:pt x="2066" y="327"/>
                  </a:lnTo>
                  <a:lnTo>
                    <a:pt x="2094" y="327"/>
                  </a:lnTo>
                  <a:lnTo>
                    <a:pt x="2101" y="382"/>
                  </a:lnTo>
                  <a:lnTo>
                    <a:pt x="2108" y="396"/>
                  </a:lnTo>
                  <a:lnTo>
                    <a:pt x="2136" y="382"/>
                  </a:lnTo>
                  <a:lnTo>
                    <a:pt x="2143" y="368"/>
                  </a:lnTo>
                  <a:lnTo>
                    <a:pt x="2143" y="313"/>
                  </a:lnTo>
                  <a:lnTo>
                    <a:pt x="2192" y="285"/>
                  </a:lnTo>
                  <a:lnTo>
                    <a:pt x="2192" y="243"/>
                  </a:lnTo>
                  <a:lnTo>
                    <a:pt x="2254" y="243"/>
                  </a:lnTo>
                  <a:lnTo>
                    <a:pt x="2296" y="271"/>
                  </a:lnTo>
                  <a:lnTo>
                    <a:pt x="2331" y="250"/>
                  </a:lnTo>
                  <a:lnTo>
                    <a:pt x="2351" y="236"/>
                  </a:lnTo>
                  <a:lnTo>
                    <a:pt x="2338" y="215"/>
                  </a:lnTo>
                  <a:lnTo>
                    <a:pt x="2324" y="132"/>
                  </a:lnTo>
                  <a:lnTo>
                    <a:pt x="2303" y="104"/>
                  </a:lnTo>
                  <a:lnTo>
                    <a:pt x="2296" y="104"/>
                  </a:lnTo>
                  <a:lnTo>
                    <a:pt x="2289" y="76"/>
                  </a:lnTo>
                  <a:lnTo>
                    <a:pt x="2296" y="69"/>
                  </a:lnTo>
                  <a:lnTo>
                    <a:pt x="2338" y="41"/>
                  </a:lnTo>
                  <a:lnTo>
                    <a:pt x="2359" y="0"/>
                  </a:lnTo>
                  <a:lnTo>
                    <a:pt x="2428" y="7"/>
                  </a:lnTo>
                  <a:lnTo>
                    <a:pt x="2435" y="21"/>
                  </a:lnTo>
                  <a:lnTo>
                    <a:pt x="2456" y="21"/>
                  </a:lnTo>
                  <a:lnTo>
                    <a:pt x="2498" y="14"/>
                  </a:lnTo>
                  <a:lnTo>
                    <a:pt x="2532" y="55"/>
                  </a:lnTo>
                  <a:lnTo>
                    <a:pt x="2532" y="69"/>
                  </a:lnTo>
                  <a:lnTo>
                    <a:pt x="2553" y="111"/>
                  </a:lnTo>
                  <a:lnTo>
                    <a:pt x="2553" y="132"/>
                  </a:lnTo>
                  <a:lnTo>
                    <a:pt x="2602" y="111"/>
                  </a:lnTo>
                  <a:lnTo>
                    <a:pt x="2651" y="139"/>
                  </a:lnTo>
                  <a:lnTo>
                    <a:pt x="2665" y="201"/>
                  </a:lnTo>
                  <a:lnTo>
                    <a:pt x="2727" y="215"/>
                  </a:lnTo>
                  <a:lnTo>
                    <a:pt x="2811" y="174"/>
                  </a:lnTo>
                  <a:lnTo>
                    <a:pt x="2818" y="174"/>
                  </a:lnTo>
                  <a:lnTo>
                    <a:pt x="2818" y="132"/>
                  </a:lnTo>
                  <a:lnTo>
                    <a:pt x="2887" y="111"/>
                  </a:lnTo>
                  <a:lnTo>
                    <a:pt x="2908" y="139"/>
                  </a:lnTo>
                  <a:lnTo>
                    <a:pt x="2880" y="167"/>
                  </a:lnTo>
                  <a:lnTo>
                    <a:pt x="2950" y="167"/>
                  </a:lnTo>
                  <a:lnTo>
                    <a:pt x="2950" y="139"/>
                  </a:lnTo>
                  <a:lnTo>
                    <a:pt x="2978" y="146"/>
                  </a:lnTo>
                  <a:lnTo>
                    <a:pt x="2991" y="167"/>
                  </a:lnTo>
                  <a:lnTo>
                    <a:pt x="3061" y="215"/>
                  </a:lnTo>
                  <a:lnTo>
                    <a:pt x="3089" y="201"/>
                  </a:lnTo>
                  <a:lnTo>
                    <a:pt x="3110" y="208"/>
                  </a:lnTo>
                  <a:lnTo>
                    <a:pt x="3124" y="181"/>
                  </a:lnTo>
                  <a:lnTo>
                    <a:pt x="3138" y="195"/>
                  </a:lnTo>
                  <a:lnTo>
                    <a:pt x="3145" y="167"/>
                  </a:lnTo>
                  <a:lnTo>
                    <a:pt x="3172" y="181"/>
                  </a:lnTo>
                  <a:lnTo>
                    <a:pt x="3172" y="215"/>
                  </a:lnTo>
                  <a:lnTo>
                    <a:pt x="3207" y="229"/>
                  </a:lnTo>
                  <a:lnTo>
                    <a:pt x="3221" y="215"/>
                  </a:lnTo>
                  <a:lnTo>
                    <a:pt x="3235" y="243"/>
                  </a:lnTo>
                  <a:lnTo>
                    <a:pt x="3291" y="250"/>
                  </a:lnTo>
                  <a:lnTo>
                    <a:pt x="3291" y="264"/>
                  </a:lnTo>
                  <a:lnTo>
                    <a:pt x="3284" y="278"/>
                  </a:lnTo>
                  <a:lnTo>
                    <a:pt x="3312" y="313"/>
                  </a:lnTo>
                  <a:lnTo>
                    <a:pt x="3291" y="375"/>
                  </a:lnTo>
                  <a:lnTo>
                    <a:pt x="3291" y="424"/>
                  </a:lnTo>
                  <a:lnTo>
                    <a:pt x="3256" y="424"/>
                  </a:lnTo>
                  <a:lnTo>
                    <a:pt x="3256" y="431"/>
                  </a:lnTo>
                  <a:lnTo>
                    <a:pt x="3221" y="508"/>
                  </a:lnTo>
                  <a:lnTo>
                    <a:pt x="3193" y="563"/>
                  </a:lnTo>
                  <a:lnTo>
                    <a:pt x="3207" y="563"/>
                  </a:lnTo>
                  <a:lnTo>
                    <a:pt x="3256" y="542"/>
                  </a:lnTo>
                  <a:lnTo>
                    <a:pt x="3270" y="577"/>
                  </a:lnTo>
                  <a:lnTo>
                    <a:pt x="3305" y="542"/>
                  </a:lnTo>
                  <a:lnTo>
                    <a:pt x="3388" y="535"/>
                  </a:lnTo>
                  <a:lnTo>
                    <a:pt x="3402" y="514"/>
                  </a:lnTo>
                  <a:lnTo>
                    <a:pt x="3437" y="528"/>
                  </a:lnTo>
                  <a:lnTo>
                    <a:pt x="3437" y="535"/>
                  </a:lnTo>
                  <a:lnTo>
                    <a:pt x="3478" y="514"/>
                  </a:lnTo>
                  <a:lnTo>
                    <a:pt x="3506" y="556"/>
                  </a:lnTo>
                  <a:lnTo>
                    <a:pt x="3562" y="570"/>
                  </a:lnTo>
                  <a:lnTo>
                    <a:pt x="3597" y="668"/>
                  </a:lnTo>
                  <a:lnTo>
                    <a:pt x="3611" y="668"/>
                  </a:lnTo>
                  <a:lnTo>
                    <a:pt x="3645" y="675"/>
                  </a:lnTo>
                  <a:lnTo>
                    <a:pt x="3680" y="758"/>
                  </a:lnTo>
                  <a:lnTo>
                    <a:pt x="3729" y="786"/>
                  </a:lnTo>
                  <a:lnTo>
                    <a:pt x="3771" y="828"/>
                  </a:lnTo>
                  <a:lnTo>
                    <a:pt x="3812" y="855"/>
                  </a:lnTo>
                  <a:lnTo>
                    <a:pt x="3826" y="855"/>
                  </a:lnTo>
                  <a:lnTo>
                    <a:pt x="3833" y="862"/>
                  </a:lnTo>
                  <a:lnTo>
                    <a:pt x="3889" y="890"/>
                  </a:lnTo>
                  <a:lnTo>
                    <a:pt x="3903" y="974"/>
                  </a:lnTo>
                  <a:lnTo>
                    <a:pt x="3924" y="987"/>
                  </a:lnTo>
                  <a:lnTo>
                    <a:pt x="3896" y="1050"/>
                  </a:lnTo>
                  <a:lnTo>
                    <a:pt x="3903" y="1085"/>
                  </a:lnTo>
                  <a:lnTo>
                    <a:pt x="3937" y="1029"/>
                  </a:lnTo>
                  <a:lnTo>
                    <a:pt x="3944" y="1022"/>
                  </a:lnTo>
                  <a:lnTo>
                    <a:pt x="3972" y="1015"/>
                  </a:lnTo>
                  <a:lnTo>
                    <a:pt x="4000" y="1036"/>
                  </a:lnTo>
                  <a:lnTo>
                    <a:pt x="4021" y="1050"/>
                  </a:lnTo>
                  <a:lnTo>
                    <a:pt x="4007" y="1050"/>
                  </a:lnTo>
                  <a:lnTo>
                    <a:pt x="3958" y="1099"/>
                  </a:lnTo>
                  <a:lnTo>
                    <a:pt x="3958" y="1120"/>
                  </a:lnTo>
                  <a:lnTo>
                    <a:pt x="4007" y="1113"/>
                  </a:lnTo>
                  <a:lnTo>
                    <a:pt x="4063" y="1113"/>
                  </a:lnTo>
                  <a:lnTo>
                    <a:pt x="4091" y="1127"/>
                  </a:lnTo>
                  <a:lnTo>
                    <a:pt x="4098" y="1203"/>
                  </a:lnTo>
                  <a:lnTo>
                    <a:pt x="4118" y="1231"/>
                  </a:lnTo>
                  <a:lnTo>
                    <a:pt x="4098" y="1266"/>
                  </a:lnTo>
                  <a:lnTo>
                    <a:pt x="4118" y="1280"/>
                  </a:lnTo>
                  <a:lnTo>
                    <a:pt x="4153" y="1217"/>
                  </a:lnTo>
                  <a:lnTo>
                    <a:pt x="4202" y="1224"/>
                  </a:lnTo>
                  <a:lnTo>
                    <a:pt x="4237" y="1259"/>
                  </a:lnTo>
                  <a:lnTo>
                    <a:pt x="4237" y="1287"/>
                  </a:lnTo>
                  <a:lnTo>
                    <a:pt x="4174" y="1342"/>
                  </a:lnTo>
                  <a:lnTo>
                    <a:pt x="4167" y="1349"/>
                  </a:lnTo>
                  <a:lnTo>
                    <a:pt x="4160" y="1377"/>
                  </a:lnTo>
                  <a:lnTo>
                    <a:pt x="4160" y="1384"/>
                  </a:lnTo>
                  <a:lnTo>
                    <a:pt x="4132" y="1363"/>
                  </a:lnTo>
                  <a:lnTo>
                    <a:pt x="4125" y="1363"/>
                  </a:lnTo>
                  <a:lnTo>
                    <a:pt x="4091" y="1398"/>
                  </a:lnTo>
                  <a:lnTo>
                    <a:pt x="4042" y="1377"/>
                  </a:lnTo>
                  <a:lnTo>
                    <a:pt x="3972" y="1321"/>
                  </a:lnTo>
                  <a:lnTo>
                    <a:pt x="3972" y="1301"/>
                  </a:lnTo>
                  <a:lnTo>
                    <a:pt x="3944" y="1294"/>
                  </a:lnTo>
                  <a:lnTo>
                    <a:pt x="3924" y="1287"/>
                  </a:lnTo>
                  <a:lnTo>
                    <a:pt x="3903" y="1266"/>
                  </a:lnTo>
                  <a:lnTo>
                    <a:pt x="3875" y="1231"/>
                  </a:lnTo>
                  <a:lnTo>
                    <a:pt x="3861" y="1245"/>
                  </a:lnTo>
                  <a:lnTo>
                    <a:pt x="3847" y="1245"/>
                  </a:lnTo>
                  <a:lnTo>
                    <a:pt x="3833" y="1280"/>
                  </a:lnTo>
                  <a:lnTo>
                    <a:pt x="3833" y="1294"/>
                  </a:lnTo>
                  <a:lnTo>
                    <a:pt x="3861" y="1314"/>
                  </a:lnTo>
                  <a:lnTo>
                    <a:pt x="3861" y="1329"/>
                  </a:lnTo>
                  <a:lnTo>
                    <a:pt x="3868" y="1329"/>
                  </a:lnTo>
                  <a:lnTo>
                    <a:pt x="3875" y="1342"/>
                  </a:lnTo>
                  <a:lnTo>
                    <a:pt x="3875" y="1349"/>
                  </a:lnTo>
                  <a:lnTo>
                    <a:pt x="3847" y="1363"/>
                  </a:lnTo>
                  <a:lnTo>
                    <a:pt x="3805" y="1342"/>
                  </a:lnTo>
                  <a:lnTo>
                    <a:pt x="3736" y="1294"/>
                  </a:lnTo>
                  <a:lnTo>
                    <a:pt x="3736" y="1287"/>
                  </a:lnTo>
                  <a:lnTo>
                    <a:pt x="3708" y="1280"/>
                  </a:lnTo>
                  <a:lnTo>
                    <a:pt x="3659" y="1217"/>
                  </a:lnTo>
                  <a:lnTo>
                    <a:pt x="3638" y="1217"/>
                  </a:lnTo>
                  <a:lnTo>
                    <a:pt x="3576" y="1162"/>
                  </a:lnTo>
                  <a:lnTo>
                    <a:pt x="3548" y="1162"/>
                  </a:lnTo>
                  <a:lnTo>
                    <a:pt x="3520" y="1182"/>
                  </a:lnTo>
                  <a:lnTo>
                    <a:pt x="3478" y="1120"/>
                  </a:lnTo>
                  <a:lnTo>
                    <a:pt x="3472" y="1099"/>
                  </a:lnTo>
                  <a:lnTo>
                    <a:pt x="3444" y="1092"/>
                  </a:lnTo>
                  <a:lnTo>
                    <a:pt x="3423" y="1085"/>
                  </a:lnTo>
                  <a:lnTo>
                    <a:pt x="3402" y="1050"/>
                  </a:lnTo>
                  <a:lnTo>
                    <a:pt x="3388" y="1036"/>
                  </a:lnTo>
                  <a:lnTo>
                    <a:pt x="3332" y="1002"/>
                  </a:lnTo>
                  <a:lnTo>
                    <a:pt x="3284" y="960"/>
                  </a:lnTo>
                  <a:lnTo>
                    <a:pt x="3270" y="960"/>
                  </a:lnTo>
                  <a:lnTo>
                    <a:pt x="3221" y="953"/>
                  </a:lnTo>
                  <a:lnTo>
                    <a:pt x="3179" y="918"/>
                  </a:lnTo>
                  <a:lnTo>
                    <a:pt x="3151" y="925"/>
                  </a:lnTo>
                  <a:lnTo>
                    <a:pt x="3138" y="904"/>
                  </a:lnTo>
                  <a:lnTo>
                    <a:pt x="3117" y="890"/>
                  </a:lnTo>
                  <a:lnTo>
                    <a:pt x="3117" y="883"/>
                  </a:lnTo>
                  <a:lnTo>
                    <a:pt x="3117" y="855"/>
                  </a:lnTo>
                  <a:lnTo>
                    <a:pt x="3026" y="793"/>
                  </a:lnTo>
                  <a:lnTo>
                    <a:pt x="2943" y="758"/>
                  </a:lnTo>
                  <a:lnTo>
                    <a:pt x="2880" y="723"/>
                  </a:lnTo>
                  <a:lnTo>
                    <a:pt x="2873" y="709"/>
                  </a:lnTo>
                  <a:lnTo>
                    <a:pt x="2845" y="737"/>
                  </a:lnTo>
                  <a:lnTo>
                    <a:pt x="2824" y="800"/>
                  </a:lnTo>
                  <a:lnTo>
                    <a:pt x="2824" y="821"/>
                  </a:lnTo>
                  <a:lnTo>
                    <a:pt x="2790" y="800"/>
                  </a:lnTo>
                  <a:lnTo>
                    <a:pt x="2755" y="793"/>
                  </a:lnTo>
                  <a:lnTo>
                    <a:pt x="2720" y="765"/>
                  </a:lnTo>
                  <a:lnTo>
                    <a:pt x="2734" y="709"/>
                  </a:lnTo>
                  <a:lnTo>
                    <a:pt x="2720" y="695"/>
                  </a:lnTo>
                  <a:lnTo>
                    <a:pt x="2685" y="675"/>
                  </a:lnTo>
                  <a:lnTo>
                    <a:pt x="2644" y="661"/>
                  </a:lnTo>
                  <a:lnTo>
                    <a:pt x="2602" y="654"/>
                  </a:lnTo>
                  <a:lnTo>
                    <a:pt x="2581" y="654"/>
                  </a:lnTo>
                  <a:lnTo>
                    <a:pt x="2518" y="640"/>
                  </a:lnTo>
                  <a:lnTo>
                    <a:pt x="2491" y="633"/>
                  </a:lnTo>
                  <a:lnTo>
                    <a:pt x="2470" y="626"/>
                  </a:lnTo>
                  <a:lnTo>
                    <a:pt x="2449" y="626"/>
                  </a:lnTo>
                  <a:lnTo>
                    <a:pt x="2428" y="626"/>
                  </a:lnTo>
                  <a:lnTo>
                    <a:pt x="2400" y="612"/>
                  </a:lnTo>
                  <a:lnTo>
                    <a:pt x="2393" y="612"/>
                  </a:lnTo>
                  <a:lnTo>
                    <a:pt x="2386" y="605"/>
                  </a:lnTo>
                  <a:lnTo>
                    <a:pt x="2359" y="605"/>
                  </a:lnTo>
                  <a:lnTo>
                    <a:pt x="2359" y="598"/>
                  </a:lnTo>
                  <a:lnTo>
                    <a:pt x="2338" y="577"/>
                  </a:lnTo>
                  <a:lnTo>
                    <a:pt x="2359" y="577"/>
                  </a:lnTo>
                  <a:lnTo>
                    <a:pt x="2359" y="570"/>
                  </a:lnTo>
                  <a:lnTo>
                    <a:pt x="2351" y="570"/>
                  </a:lnTo>
                  <a:lnTo>
                    <a:pt x="2338" y="570"/>
                  </a:lnTo>
                  <a:lnTo>
                    <a:pt x="2331" y="577"/>
                  </a:lnTo>
                  <a:lnTo>
                    <a:pt x="2324" y="577"/>
                  </a:lnTo>
                  <a:lnTo>
                    <a:pt x="2331" y="591"/>
                  </a:lnTo>
                  <a:lnTo>
                    <a:pt x="2338" y="591"/>
                  </a:lnTo>
                  <a:lnTo>
                    <a:pt x="2338" y="605"/>
                  </a:lnTo>
                  <a:lnTo>
                    <a:pt x="2331" y="591"/>
                  </a:lnTo>
                  <a:lnTo>
                    <a:pt x="2331" y="598"/>
                  </a:lnTo>
                  <a:lnTo>
                    <a:pt x="2324" y="591"/>
                  </a:lnTo>
                  <a:lnTo>
                    <a:pt x="2324" y="598"/>
                  </a:lnTo>
                  <a:lnTo>
                    <a:pt x="2317" y="598"/>
                  </a:lnTo>
                  <a:lnTo>
                    <a:pt x="2317" y="591"/>
                  </a:lnTo>
                  <a:lnTo>
                    <a:pt x="2317" y="598"/>
                  </a:lnTo>
                  <a:lnTo>
                    <a:pt x="2303" y="591"/>
                  </a:lnTo>
                  <a:lnTo>
                    <a:pt x="2296" y="591"/>
                  </a:lnTo>
                  <a:lnTo>
                    <a:pt x="2296" y="577"/>
                  </a:lnTo>
                  <a:lnTo>
                    <a:pt x="2289" y="591"/>
                  </a:lnTo>
                  <a:lnTo>
                    <a:pt x="2289" y="577"/>
                  </a:lnTo>
                  <a:lnTo>
                    <a:pt x="2289" y="591"/>
                  </a:lnTo>
                  <a:lnTo>
                    <a:pt x="2275" y="577"/>
                  </a:lnTo>
                  <a:lnTo>
                    <a:pt x="2275" y="591"/>
                  </a:lnTo>
                  <a:lnTo>
                    <a:pt x="2275" y="570"/>
                  </a:lnTo>
                  <a:lnTo>
                    <a:pt x="2261" y="591"/>
                  </a:lnTo>
                  <a:lnTo>
                    <a:pt x="2198" y="570"/>
                  </a:lnTo>
                  <a:lnTo>
                    <a:pt x="2198" y="563"/>
                  </a:lnTo>
                  <a:lnTo>
                    <a:pt x="2226" y="563"/>
                  </a:lnTo>
                  <a:lnTo>
                    <a:pt x="2233" y="556"/>
                  </a:lnTo>
                  <a:lnTo>
                    <a:pt x="2219" y="556"/>
                  </a:lnTo>
                  <a:lnTo>
                    <a:pt x="2219" y="542"/>
                  </a:lnTo>
                  <a:lnTo>
                    <a:pt x="2219" y="556"/>
                  </a:lnTo>
                  <a:lnTo>
                    <a:pt x="2205" y="542"/>
                  </a:lnTo>
                  <a:lnTo>
                    <a:pt x="2205" y="556"/>
                  </a:lnTo>
                  <a:lnTo>
                    <a:pt x="2198" y="556"/>
                  </a:lnTo>
                  <a:lnTo>
                    <a:pt x="2198" y="542"/>
                  </a:lnTo>
                  <a:lnTo>
                    <a:pt x="2171" y="542"/>
                  </a:lnTo>
                  <a:lnTo>
                    <a:pt x="2143" y="542"/>
                  </a:lnTo>
                  <a:lnTo>
                    <a:pt x="2087" y="542"/>
                  </a:lnTo>
                  <a:lnTo>
                    <a:pt x="2045" y="542"/>
                  </a:lnTo>
                  <a:lnTo>
                    <a:pt x="2025" y="563"/>
                  </a:lnTo>
                  <a:lnTo>
                    <a:pt x="1997" y="563"/>
                  </a:lnTo>
                  <a:lnTo>
                    <a:pt x="1948" y="612"/>
                  </a:lnTo>
                  <a:lnTo>
                    <a:pt x="1927" y="626"/>
                  </a:lnTo>
                  <a:lnTo>
                    <a:pt x="1871" y="640"/>
                  </a:lnTo>
                  <a:lnTo>
                    <a:pt x="1871" y="654"/>
                  </a:lnTo>
                  <a:lnTo>
                    <a:pt x="1781" y="689"/>
                  </a:lnTo>
                  <a:lnTo>
                    <a:pt x="1767" y="709"/>
                  </a:lnTo>
                  <a:lnTo>
                    <a:pt x="1704" y="744"/>
                  </a:lnTo>
                  <a:lnTo>
                    <a:pt x="1677" y="758"/>
                  </a:lnTo>
                  <a:lnTo>
                    <a:pt x="1649" y="772"/>
                  </a:lnTo>
                  <a:lnTo>
                    <a:pt x="1635" y="793"/>
                  </a:lnTo>
                  <a:lnTo>
                    <a:pt x="1642" y="793"/>
                  </a:lnTo>
                  <a:lnTo>
                    <a:pt x="1572" y="862"/>
                  </a:lnTo>
                  <a:lnTo>
                    <a:pt x="1572" y="897"/>
                  </a:lnTo>
                  <a:lnTo>
                    <a:pt x="1579" y="918"/>
                  </a:lnTo>
                  <a:lnTo>
                    <a:pt x="1552" y="960"/>
                  </a:lnTo>
                  <a:lnTo>
                    <a:pt x="1517" y="995"/>
                  </a:lnTo>
                  <a:lnTo>
                    <a:pt x="1531" y="1036"/>
                  </a:lnTo>
                  <a:lnTo>
                    <a:pt x="1517" y="1057"/>
                  </a:lnTo>
                  <a:lnTo>
                    <a:pt x="1489" y="1085"/>
                  </a:lnTo>
                  <a:lnTo>
                    <a:pt x="1371" y="1127"/>
                  </a:lnTo>
                  <a:lnTo>
                    <a:pt x="1336" y="1134"/>
                  </a:lnTo>
                  <a:lnTo>
                    <a:pt x="1280" y="1168"/>
                  </a:lnTo>
                  <a:lnTo>
                    <a:pt x="1245" y="1224"/>
                  </a:lnTo>
                  <a:lnTo>
                    <a:pt x="1225" y="1252"/>
                  </a:lnTo>
                  <a:lnTo>
                    <a:pt x="1211" y="1321"/>
                  </a:lnTo>
                  <a:lnTo>
                    <a:pt x="1211" y="1377"/>
                  </a:lnTo>
                  <a:lnTo>
                    <a:pt x="1183" y="1398"/>
                  </a:lnTo>
                  <a:lnTo>
                    <a:pt x="1148" y="1447"/>
                  </a:lnTo>
                  <a:lnTo>
                    <a:pt x="1106" y="1495"/>
                  </a:lnTo>
                  <a:lnTo>
                    <a:pt x="1113" y="1558"/>
                  </a:lnTo>
                  <a:lnTo>
                    <a:pt x="1120" y="1572"/>
                  </a:lnTo>
                  <a:lnTo>
                    <a:pt x="1092" y="1579"/>
                  </a:lnTo>
                  <a:lnTo>
                    <a:pt x="1058" y="1614"/>
                  </a:lnTo>
                  <a:lnTo>
                    <a:pt x="1051" y="1621"/>
                  </a:lnTo>
                  <a:lnTo>
                    <a:pt x="1009" y="1648"/>
                  </a:lnTo>
                  <a:lnTo>
                    <a:pt x="988" y="1655"/>
                  </a:lnTo>
                  <a:lnTo>
                    <a:pt x="953" y="1718"/>
                  </a:lnTo>
                  <a:lnTo>
                    <a:pt x="912" y="1725"/>
                  </a:lnTo>
                  <a:lnTo>
                    <a:pt x="863" y="1753"/>
                  </a:lnTo>
                  <a:lnTo>
                    <a:pt x="786" y="1781"/>
                  </a:lnTo>
                  <a:lnTo>
                    <a:pt x="779" y="1802"/>
                  </a:lnTo>
                  <a:lnTo>
                    <a:pt x="751" y="1808"/>
                  </a:lnTo>
                  <a:lnTo>
                    <a:pt x="689" y="1822"/>
                  </a:lnTo>
                  <a:lnTo>
                    <a:pt x="647" y="1836"/>
                  </a:lnTo>
                  <a:lnTo>
                    <a:pt x="605" y="1836"/>
                  </a:lnTo>
                  <a:lnTo>
                    <a:pt x="585" y="1850"/>
                  </a:lnTo>
                  <a:lnTo>
                    <a:pt x="564" y="1871"/>
                  </a:lnTo>
                  <a:lnTo>
                    <a:pt x="515" y="1857"/>
                  </a:lnTo>
                  <a:lnTo>
                    <a:pt x="397" y="1920"/>
                  </a:lnTo>
                  <a:lnTo>
                    <a:pt x="341" y="1913"/>
                  </a:lnTo>
                  <a:lnTo>
                    <a:pt x="292" y="1954"/>
                  </a:lnTo>
                  <a:lnTo>
                    <a:pt x="258" y="1954"/>
                  </a:lnTo>
                  <a:lnTo>
                    <a:pt x="230" y="1948"/>
                  </a:lnTo>
                  <a:lnTo>
                    <a:pt x="139" y="1934"/>
                  </a:lnTo>
                  <a:lnTo>
                    <a:pt x="105" y="1948"/>
                  </a:lnTo>
                  <a:lnTo>
                    <a:pt x="70" y="1948"/>
                  </a:lnTo>
                  <a:lnTo>
                    <a:pt x="7" y="1815"/>
                  </a:lnTo>
                  <a:lnTo>
                    <a:pt x="0" y="1788"/>
                  </a:lnTo>
                  <a:lnTo>
                    <a:pt x="42" y="1718"/>
                  </a:lnTo>
                  <a:lnTo>
                    <a:pt x="97" y="1711"/>
                  </a:lnTo>
                  <a:lnTo>
                    <a:pt x="105" y="1704"/>
                  </a:lnTo>
                  <a:lnTo>
                    <a:pt x="125" y="1648"/>
                  </a:lnTo>
                  <a:lnTo>
                    <a:pt x="125" y="1607"/>
                  </a:lnTo>
                  <a:lnTo>
                    <a:pt x="139" y="1586"/>
                  </a:lnTo>
                  <a:lnTo>
                    <a:pt x="174" y="1572"/>
                  </a:lnTo>
                  <a:lnTo>
                    <a:pt x="237" y="1544"/>
                  </a:lnTo>
                  <a:lnTo>
                    <a:pt x="264" y="1516"/>
                  </a:lnTo>
                  <a:lnTo>
                    <a:pt x="292" y="1481"/>
                  </a:lnTo>
                  <a:lnTo>
                    <a:pt x="285" y="1412"/>
                  </a:lnTo>
                  <a:lnTo>
                    <a:pt x="341" y="1384"/>
                  </a:lnTo>
                  <a:lnTo>
                    <a:pt x="362" y="1342"/>
                  </a:lnTo>
                  <a:lnTo>
                    <a:pt x="390" y="1329"/>
                  </a:lnTo>
                  <a:lnTo>
                    <a:pt x="418" y="1301"/>
                  </a:lnTo>
                  <a:lnTo>
                    <a:pt x="431" y="1287"/>
                  </a:lnTo>
                  <a:lnTo>
                    <a:pt x="397" y="1294"/>
                  </a:lnTo>
                  <a:lnTo>
                    <a:pt x="362" y="1245"/>
                  </a:lnTo>
                  <a:lnTo>
                    <a:pt x="376" y="1203"/>
                  </a:lnTo>
                  <a:lnTo>
                    <a:pt x="418" y="1182"/>
                  </a:lnTo>
                  <a:lnTo>
                    <a:pt x="459" y="1168"/>
                  </a:lnTo>
                  <a:lnTo>
                    <a:pt x="564" y="1217"/>
                  </a:lnTo>
                  <a:lnTo>
                    <a:pt x="570" y="1217"/>
                  </a:lnTo>
                  <a:lnTo>
                    <a:pt x="633" y="1231"/>
                  </a:lnTo>
                  <a:lnTo>
                    <a:pt x="647" y="1252"/>
                  </a:lnTo>
                  <a:lnTo>
                    <a:pt x="703" y="1231"/>
                  </a:lnTo>
                  <a:lnTo>
                    <a:pt x="724" y="1252"/>
                  </a:lnTo>
                  <a:lnTo>
                    <a:pt x="731" y="1252"/>
                  </a:lnTo>
                  <a:lnTo>
                    <a:pt x="779" y="1231"/>
                  </a:lnTo>
                  <a:lnTo>
                    <a:pt x="786" y="1231"/>
                  </a:lnTo>
                  <a:lnTo>
                    <a:pt x="849" y="1252"/>
                  </a:lnTo>
                  <a:lnTo>
                    <a:pt x="856" y="123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3" name="Freeform 92"/>
            <p:cNvSpPr>
              <a:spLocks noChangeArrowheads="1"/>
            </p:cNvSpPr>
            <p:nvPr/>
          </p:nvSpPr>
          <p:spPr bwMode="auto">
            <a:xfrm>
              <a:off x="17458574" y="2987532"/>
              <a:ext cx="1234381" cy="1095689"/>
            </a:xfrm>
            <a:custGeom>
              <a:avLst/>
              <a:gdLst>
                <a:gd name="T0" fmla="*/ 1112 w 2629"/>
                <a:gd name="T1" fmla="*/ 1829 h 2331"/>
                <a:gd name="T2" fmla="*/ 1070 w 2629"/>
                <a:gd name="T3" fmla="*/ 1878 h 2331"/>
                <a:gd name="T4" fmla="*/ 1132 w 2629"/>
                <a:gd name="T5" fmla="*/ 2003 h 2331"/>
                <a:gd name="T6" fmla="*/ 1202 w 2629"/>
                <a:gd name="T7" fmla="*/ 2094 h 2331"/>
                <a:gd name="T8" fmla="*/ 1258 w 2629"/>
                <a:gd name="T9" fmla="*/ 2177 h 2331"/>
                <a:gd name="T10" fmla="*/ 1279 w 2629"/>
                <a:gd name="T11" fmla="*/ 2094 h 2331"/>
                <a:gd name="T12" fmla="*/ 1265 w 2629"/>
                <a:gd name="T13" fmla="*/ 2003 h 2331"/>
                <a:gd name="T14" fmla="*/ 1299 w 2629"/>
                <a:gd name="T15" fmla="*/ 1941 h 2331"/>
                <a:gd name="T16" fmla="*/ 1376 w 2629"/>
                <a:gd name="T17" fmla="*/ 1962 h 2331"/>
                <a:gd name="T18" fmla="*/ 1480 w 2629"/>
                <a:gd name="T19" fmla="*/ 1913 h 2331"/>
                <a:gd name="T20" fmla="*/ 1654 w 2629"/>
                <a:gd name="T21" fmla="*/ 1976 h 2331"/>
                <a:gd name="T22" fmla="*/ 1738 w 2629"/>
                <a:gd name="T23" fmla="*/ 2122 h 2331"/>
                <a:gd name="T24" fmla="*/ 2016 w 2629"/>
                <a:gd name="T25" fmla="*/ 2024 h 2331"/>
                <a:gd name="T26" fmla="*/ 2009 w 2629"/>
                <a:gd name="T27" fmla="*/ 1878 h 2331"/>
                <a:gd name="T28" fmla="*/ 2072 w 2629"/>
                <a:gd name="T29" fmla="*/ 1899 h 2331"/>
                <a:gd name="T30" fmla="*/ 2378 w 2629"/>
                <a:gd name="T31" fmla="*/ 2163 h 2331"/>
                <a:gd name="T32" fmla="*/ 2405 w 2629"/>
                <a:gd name="T33" fmla="*/ 2261 h 2331"/>
                <a:gd name="T34" fmla="*/ 2301 w 2629"/>
                <a:gd name="T35" fmla="*/ 2289 h 2331"/>
                <a:gd name="T36" fmla="*/ 2524 w 2629"/>
                <a:gd name="T37" fmla="*/ 2316 h 2331"/>
                <a:gd name="T38" fmla="*/ 2489 w 2629"/>
                <a:gd name="T39" fmla="*/ 2094 h 2331"/>
                <a:gd name="T40" fmla="*/ 2218 w 2629"/>
                <a:gd name="T41" fmla="*/ 1864 h 2331"/>
                <a:gd name="T42" fmla="*/ 2078 w 2629"/>
                <a:gd name="T43" fmla="*/ 1704 h 2331"/>
                <a:gd name="T44" fmla="*/ 2086 w 2629"/>
                <a:gd name="T45" fmla="*/ 1440 h 2331"/>
                <a:gd name="T46" fmla="*/ 1953 w 2629"/>
                <a:gd name="T47" fmla="*/ 1454 h 2331"/>
                <a:gd name="T48" fmla="*/ 1967 w 2629"/>
                <a:gd name="T49" fmla="*/ 1315 h 2331"/>
                <a:gd name="T50" fmla="*/ 2197 w 2629"/>
                <a:gd name="T51" fmla="*/ 1092 h 2331"/>
                <a:gd name="T52" fmla="*/ 2099 w 2629"/>
                <a:gd name="T53" fmla="*/ 1009 h 2331"/>
                <a:gd name="T54" fmla="*/ 1939 w 2629"/>
                <a:gd name="T55" fmla="*/ 939 h 2331"/>
                <a:gd name="T56" fmla="*/ 1800 w 2629"/>
                <a:gd name="T57" fmla="*/ 953 h 2331"/>
                <a:gd name="T58" fmla="*/ 1738 w 2629"/>
                <a:gd name="T59" fmla="*/ 765 h 2331"/>
                <a:gd name="T60" fmla="*/ 1849 w 2629"/>
                <a:gd name="T61" fmla="*/ 688 h 2331"/>
                <a:gd name="T62" fmla="*/ 1974 w 2629"/>
                <a:gd name="T63" fmla="*/ 577 h 2331"/>
                <a:gd name="T64" fmla="*/ 2245 w 2629"/>
                <a:gd name="T65" fmla="*/ 452 h 2331"/>
                <a:gd name="T66" fmla="*/ 2294 w 2629"/>
                <a:gd name="T67" fmla="*/ 271 h 2331"/>
                <a:gd name="T68" fmla="*/ 1974 w 2629"/>
                <a:gd name="T69" fmla="*/ 223 h 2331"/>
                <a:gd name="T70" fmla="*/ 1745 w 2629"/>
                <a:gd name="T71" fmla="*/ 153 h 2331"/>
                <a:gd name="T72" fmla="*/ 1578 w 2629"/>
                <a:gd name="T73" fmla="*/ 195 h 2331"/>
                <a:gd name="T74" fmla="*/ 1265 w 2629"/>
                <a:gd name="T75" fmla="*/ 104 h 2331"/>
                <a:gd name="T76" fmla="*/ 840 w 2629"/>
                <a:gd name="T77" fmla="*/ 76 h 2331"/>
                <a:gd name="T78" fmla="*/ 673 w 2629"/>
                <a:gd name="T79" fmla="*/ 21 h 2331"/>
                <a:gd name="T80" fmla="*/ 701 w 2629"/>
                <a:gd name="T81" fmla="*/ 223 h 2331"/>
                <a:gd name="T82" fmla="*/ 499 w 2629"/>
                <a:gd name="T83" fmla="*/ 320 h 2331"/>
                <a:gd name="T84" fmla="*/ 410 w 2629"/>
                <a:gd name="T85" fmla="*/ 369 h 2331"/>
                <a:gd name="T86" fmla="*/ 285 w 2629"/>
                <a:gd name="T87" fmla="*/ 480 h 2331"/>
                <a:gd name="T88" fmla="*/ 215 w 2629"/>
                <a:gd name="T89" fmla="*/ 591 h 2331"/>
                <a:gd name="T90" fmla="*/ 90 w 2629"/>
                <a:gd name="T91" fmla="*/ 688 h 2331"/>
                <a:gd name="T92" fmla="*/ 20 w 2629"/>
                <a:gd name="T93" fmla="*/ 786 h 2331"/>
                <a:gd name="T94" fmla="*/ 132 w 2629"/>
                <a:gd name="T95" fmla="*/ 918 h 2331"/>
                <a:gd name="T96" fmla="*/ 285 w 2629"/>
                <a:gd name="T97" fmla="*/ 1092 h 2331"/>
                <a:gd name="T98" fmla="*/ 215 w 2629"/>
                <a:gd name="T99" fmla="*/ 1217 h 2331"/>
                <a:gd name="T100" fmla="*/ 132 w 2629"/>
                <a:gd name="T101" fmla="*/ 1336 h 2331"/>
                <a:gd name="T102" fmla="*/ 236 w 2629"/>
                <a:gd name="T103" fmla="*/ 1551 h 2331"/>
                <a:gd name="T104" fmla="*/ 313 w 2629"/>
                <a:gd name="T105" fmla="*/ 1642 h 2331"/>
                <a:gd name="T106" fmla="*/ 375 w 2629"/>
                <a:gd name="T107" fmla="*/ 1767 h 2331"/>
                <a:gd name="T108" fmla="*/ 430 w 2629"/>
                <a:gd name="T109" fmla="*/ 1801 h 2331"/>
                <a:gd name="T110" fmla="*/ 506 w 2629"/>
                <a:gd name="T111" fmla="*/ 1801 h 2331"/>
                <a:gd name="T112" fmla="*/ 562 w 2629"/>
                <a:gd name="T113" fmla="*/ 1871 h 2331"/>
                <a:gd name="T114" fmla="*/ 694 w 2629"/>
                <a:gd name="T115" fmla="*/ 1795 h 2331"/>
                <a:gd name="T116" fmla="*/ 826 w 2629"/>
                <a:gd name="T117" fmla="*/ 1774 h 2331"/>
                <a:gd name="T118" fmla="*/ 896 w 2629"/>
                <a:gd name="T119" fmla="*/ 1781 h 2331"/>
                <a:gd name="T120" fmla="*/ 1000 w 2629"/>
                <a:gd name="T121" fmla="*/ 1815 h 2331"/>
                <a:gd name="T122" fmla="*/ 1084 w 2629"/>
                <a:gd name="T123" fmla="*/ 1781 h 2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29" h="2331">
                  <a:moveTo>
                    <a:pt x="1084" y="1781"/>
                  </a:moveTo>
                  <a:lnTo>
                    <a:pt x="1070" y="1801"/>
                  </a:lnTo>
                  <a:lnTo>
                    <a:pt x="1091" y="1795"/>
                  </a:lnTo>
                  <a:lnTo>
                    <a:pt x="1084" y="1801"/>
                  </a:lnTo>
                  <a:lnTo>
                    <a:pt x="1112" y="1829"/>
                  </a:lnTo>
                  <a:lnTo>
                    <a:pt x="1084" y="1829"/>
                  </a:lnTo>
                  <a:lnTo>
                    <a:pt x="1084" y="1857"/>
                  </a:lnTo>
                  <a:lnTo>
                    <a:pt x="1098" y="1857"/>
                  </a:lnTo>
                  <a:lnTo>
                    <a:pt x="1098" y="1864"/>
                  </a:lnTo>
                  <a:lnTo>
                    <a:pt x="1070" y="1878"/>
                  </a:lnTo>
                  <a:lnTo>
                    <a:pt x="1091" y="1899"/>
                  </a:lnTo>
                  <a:lnTo>
                    <a:pt x="1125" y="1941"/>
                  </a:lnTo>
                  <a:lnTo>
                    <a:pt x="1125" y="1948"/>
                  </a:lnTo>
                  <a:lnTo>
                    <a:pt x="1132" y="1976"/>
                  </a:lnTo>
                  <a:lnTo>
                    <a:pt x="1132" y="2003"/>
                  </a:lnTo>
                  <a:lnTo>
                    <a:pt x="1132" y="2024"/>
                  </a:lnTo>
                  <a:lnTo>
                    <a:pt x="1160" y="2003"/>
                  </a:lnTo>
                  <a:lnTo>
                    <a:pt x="1188" y="2066"/>
                  </a:lnTo>
                  <a:lnTo>
                    <a:pt x="1181" y="2073"/>
                  </a:lnTo>
                  <a:lnTo>
                    <a:pt x="1202" y="2094"/>
                  </a:lnTo>
                  <a:lnTo>
                    <a:pt x="1188" y="2101"/>
                  </a:lnTo>
                  <a:lnTo>
                    <a:pt x="1223" y="2135"/>
                  </a:lnTo>
                  <a:lnTo>
                    <a:pt x="1223" y="2170"/>
                  </a:lnTo>
                  <a:lnTo>
                    <a:pt x="1258" y="2163"/>
                  </a:lnTo>
                  <a:lnTo>
                    <a:pt x="1258" y="2177"/>
                  </a:lnTo>
                  <a:lnTo>
                    <a:pt x="1286" y="2198"/>
                  </a:lnTo>
                  <a:lnTo>
                    <a:pt x="1292" y="2163"/>
                  </a:lnTo>
                  <a:lnTo>
                    <a:pt x="1362" y="2073"/>
                  </a:lnTo>
                  <a:lnTo>
                    <a:pt x="1320" y="2094"/>
                  </a:lnTo>
                  <a:lnTo>
                    <a:pt x="1279" y="2094"/>
                  </a:lnTo>
                  <a:lnTo>
                    <a:pt x="1258" y="2094"/>
                  </a:lnTo>
                  <a:lnTo>
                    <a:pt x="1230" y="2038"/>
                  </a:lnTo>
                  <a:lnTo>
                    <a:pt x="1251" y="2038"/>
                  </a:lnTo>
                  <a:lnTo>
                    <a:pt x="1251" y="2031"/>
                  </a:lnTo>
                  <a:lnTo>
                    <a:pt x="1265" y="2003"/>
                  </a:lnTo>
                  <a:lnTo>
                    <a:pt x="1299" y="2003"/>
                  </a:lnTo>
                  <a:lnTo>
                    <a:pt x="1320" y="2003"/>
                  </a:lnTo>
                  <a:lnTo>
                    <a:pt x="1313" y="1989"/>
                  </a:lnTo>
                  <a:lnTo>
                    <a:pt x="1299" y="1976"/>
                  </a:lnTo>
                  <a:lnTo>
                    <a:pt x="1299" y="1941"/>
                  </a:lnTo>
                  <a:lnTo>
                    <a:pt x="1320" y="1934"/>
                  </a:lnTo>
                  <a:lnTo>
                    <a:pt x="1341" y="1934"/>
                  </a:lnTo>
                  <a:lnTo>
                    <a:pt x="1355" y="1968"/>
                  </a:lnTo>
                  <a:lnTo>
                    <a:pt x="1376" y="1934"/>
                  </a:lnTo>
                  <a:lnTo>
                    <a:pt x="1376" y="1962"/>
                  </a:lnTo>
                  <a:lnTo>
                    <a:pt x="1390" y="1941"/>
                  </a:lnTo>
                  <a:lnTo>
                    <a:pt x="1418" y="1934"/>
                  </a:lnTo>
                  <a:lnTo>
                    <a:pt x="1425" y="1913"/>
                  </a:lnTo>
                  <a:lnTo>
                    <a:pt x="1459" y="1927"/>
                  </a:lnTo>
                  <a:lnTo>
                    <a:pt x="1480" y="1913"/>
                  </a:lnTo>
                  <a:lnTo>
                    <a:pt x="1487" y="1934"/>
                  </a:lnTo>
                  <a:lnTo>
                    <a:pt x="1508" y="1948"/>
                  </a:lnTo>
                  <a:lnTo>
                    <a:pt x="1529" y="1962"/>
                  </a:lnTo>
                  <a:lnTo>
                    <a:pt x="1557" y="1962"/>
                  </a:lnTo>
                  <a:lnTo>
                    <a:pt x="1654" y="1976"/>
                  </a:lnTo>
                  <a:lnTo>
                    <a:pt x="1703" y="1996"/>
                  </a:lnTo>
                  <a:lnTo>
                    <a:pt x="1717" y="2003"/>
                  </a:lnTo>
                  <a:lnTo>
                    <a:pt x="1752" y="2010"/>
                  </a:lnTo>
                  <a:lnTo>
                    <a:pt x="1752" y="2108"/>
                  </a:lnTo>
                  <a:lnTo>
                    <a:pt x="1738" y="2122"/>
                  </a:lnTo>
                  <a:lnTo>
                    <a:pt x="1759" y="2128"/>
                  </a:lnTo>
                  <a:lnTo>
                    <a:pt x="1821" y="2108"/>
                  </a:lnTo>
                  <a:lnTo>
                    <a:pt x="1877" y="2073"/>
                  </a:lnTo>
                  <a:lnTo>
                    <a:pt x="1967" y="2038"/>
                  </a:lnTo>
                  <a:lnTo>
                    <a:pt x="2016" y="2024"/>
                  </a:lnTo>
                  <a:lnTo>
                    <a:pt x="2030" y="2010"/>
                  </a:lnTo>
                  <a:lnTo>
                    <a:pt x="1967" y="1962"/>
                  </a:lnTo>
                  <a:lnTo>
                    <a:pt x="1981" y="1968"/>
                  </a:lnTo>
                  <a:lnTo>
                    <a:pt x="1981" y="1913"/>
                  </a:lnTo>
                  <a:lnTo>
                    <a:pt x="2009" y="1878"/>
                  </a:lnTo>
                  <a:lnTo>
                    <a:pt x="1988" y="1892"/>
                  </a:lnTo>
                  <a:lnTo>
                    <a:pt x="2009" y="1871"/>
                  </a:lnTo>
                  <a:lnTo>
                    <a:pt x="2016" y="1864"/>
                  </a:lnTo>
                  <a:lnTo>
                    <a:pt x="2037" y="1892"/>
                  </a:lnTo>
                  <a:lnTo>
                    <a:pt x="2072" y="1899"/>
                  </a:lnTo>
                  <a:lnTo>
                    <a:pt x="2148" y="1927"/>
                  </a:lnTo>
                  <a:lnTo>
                    <a:pt x="2218" y="1976"/>
                  </a:lnTo>
                  <a:lnTo>
                    <a:pt x="2294" y="2059"/>
                  </a:lnTo>
                  <a:lnTo>
                    <a:pt x="2329" y="2073"/>
                  </a:lnTo>
                  <a:lnTo>
                    <a:pt x="2378" y="2163"/>
                  </a:lnTo>
                  <a:lnTo>
                    <a:pt x="2364" y="2191"/>
                  </a:lnTo>
                  <a:lnTo>
                    <a:pt x="2336" y="2198"/>
                  </a:lnTo>
                  <a:lnTo>
                    <a:pt x="2392" y="2219"/>
                  </a:lnTo>
                  <a:lnTo>
                    <a:pt x="2392" y="2233"/>
                  </a:lnTo>
                  <a:lnTo>
                    <a:pt x="2405" y="2261"/>
                  </a:lnTo>
                  <a:lnTo>
                    <a:pt x="2454" y="2261"/>
                  </a:lnTo>
                  <a:lnTo>
                    <a:pt x="2433" y="2274"/>
                  </a:lnTo>
                  <a:lnTo>
                    <a:pt x="2399" y="2289"/>
                  </a:lnTo>
                  <a:lnTo>
                    <a:pt x="2329" y="2268"/>
                  </a:lnTo>
                  <a:lnTo>
                    <a:pt x="2301" y="2289"/>
                  </a:lnTo>
                  <a:lnTo>
                    <a:pt x="2315" y="2302"/>
                  </a:lnTo>
                  <a:lnTo>
                    <a:pt x="2371" y="2316"/>
                  </a:lnTo>
                  <a:lnTo>
                    <a:pt x="2461" y="2330"/>
                  </a:lnTo>
                  <a:lnTo>
                    <a:pt x="2468" y="2330"/>
                  </a:lnTo>
                  <a:lnTo>
                    <a:pt x="2524" y="2316"/>
                  </a:lnTo>
                  <a:lnTo>
                    <a:pt x="2559" y="2268"/>
                  </a:lnTo>
                  <a:lnTo>
                    <a:pt x="2628" y="2219"/>
                  </a:lnTo>
                  <a:lnTo>
                    <a:pt x="2593" y="2191"/>
                  </a:lnTo>
                  <a:lnTo>
                    <a:pt x="2586" y="2191"/>
                  </a:lnTo>
                  <a:lnTo>
                    <a:pt x="2489" y="2094"/>
                  </a:lnTo>
                  <a:lnTo>
                    <a:pt x="2489" y="2066"/>
                  </a:lnTo>
                  <a:lnTo>
                    <a:pt x="2412" y="1968"/>
                  </a:lnTo>
                  <a:lnTo>
                    <a:pt x="2357" y="1948"/>
                  </a:lnTo>
                  <a:lnTo>
                    <a:pt x="2308" y="1927"/>
                  </a:lnTo>
                  <a:lnTo>
                    <a:pt x="2218" y="1864"/>
                  </a:lnTo>
                  <a:lnTo>
                    <a:pt x="2148" y="1857"/>
                  </a:lnTo>
                  <a:lnTo>
                    <a:pt x="2099" y="1836"/>
                  </a:lnTo>
                  <a:lnTo>
                    <a:pt x="2072" y="1774"/>
                  </a:lnTo>
                  <a:lnTo>
                    <a:pt x="2072" y="1739"/>
                  </a:lnTo>
                  <a:lnTo>
                    <a:pt x="2078" y="1704"/>
                  </a:lnTo>
                  <a:lnTo>
                    <a:pt x="2134" y="1614"/>
                  </a:lnTo>
                  <a:lnTo>
                    <a:pt x="2162" y="1544"/>
                  </a:lnTo>
                  <a:lnTo>
                    <a:pt x="2148" y="1440"/>
                  </a:lnTo>
                  <a:lnTo>
                    <a:pt x="2113" y="1447"/>
                  </a:lnTo>
                  <a:lnTo>
                    <a:pt x="2086" y="1440"/>
                  </a:lnTo>
                  <a:lnTo>
                    <a:pt x="2065" y="1475"/>
                  </a:lnTo>
                  <a:lnTo>
                    <a:pt x="2009" y="1482"/>
                  </a:lnTo>
                  <a:lnTo>
                    <a:pt x="1981" y="1482"/>
                  </a:lnTo>
                  <a:lnTo>
                    <a:pt x="1981" y="1468"/>
                  </a:lnTo>
                  <a:lnTo>
                    <a:pt x="1953" y="1454"/>
                  </a:lnTo>
                  <a:lnTo>
                    <a:pt x="1932" y="1447"/>
                  </a:lnTo>
                  <a:lnTo>
                    <a:pt x="1912" y="1412"/>
                  </a:lnTo>
                  <a:lnTo>
                    <a:pt x="1891" y="1405"/>
                  </a:lnTo>
                  <a:lnTo>
                    <a:pt x="1919" y="1384"/>
                  </a:lnTo>
                  <a:lnTo>
                    <a:pt x="1967" y="1315"/>
                  </a:lnTo>
                  <a:lnTo>
                    <a:pt x="1939" y="1301"/>
                  </a:lnTo>
                  <a:lnTo>
                    <a:pt x="1953" y="1280"/>
                  </a:lnTo>
                  <a:lnTo>
                    <a:pt x="2037" y="1224"/>
                  </a:lnTo>
                  <a:lnTo>
                    <a:pt x="2106" y="1169"/>
                  </a:lnTo>
                  <a:lnTo>
                    <a:pt x="2197" y="1092"/>
                  </a:lnTo>
                  <a:lnTo>
                    <a:pt x="2197" y="1071"/>
                  </a:lnTo>
                  <a:lnTo>
                    <a:pt x="2218" y="1036"/>
                  </a:lnTo>
                  <a:lnTo>
                    <a:pt x="2162" y="1009"/>
                  </a:lnTo>
                  <a:lnTo>
                    <a:pt x="2134" y="1015"/>
                  </a:lnTo>
                  <a:lnTo>
                    <a:pt x="2099" y="1009"/>
                  </a:lnTo>
                  <a:lnTo>
                    <a:pt x="2051" y="1009"/>
                  </a:lnTo>
                  <a:lnTo>
                    <a:pt x="2044" y="974"/>
                  </a:lnTo>
                  <a:lnTo>
                    <a:pt x="1988" y="953"/>
                  </a:lnTo>
                  <a:lnTo>
                    <a:pt x="1988" y="946"/>
                  </a:lnTo>
                  <a:lnTo>
                    <a:pt x="1939" y="939"/>
                  </a:lnTo>
                  <a:lnTo>
                    <a:pt x="1856" y="918"/>
                  </a:lnTo>
                  <a:lnTo>
                    <a:pt x="1877" y="953"/>
                  </a:lnTo>
                  <a:lnTo>
                    <a:pt x="1856" y="953"/>
                  </a:lnTo>
                  <a:lnTo>
                    <a:pt x="1814" y="960"/>
                  </a:lnTo>
                  <a:lnTo>
                    <a:pt x="1800" y="953"/>
                  </a:lnTo>
                  <a:lnTo>
                    <a:pt x="1800" y="918"/>
                  </a:lnTo>
                  <a:lnTo>
                    <a:pt x="1814" y="911"/>
                  </a:lnTo>
                  <a:lnTo>
                    <a:pt x="1800" y="890"/>
                  </a:lnTo>
                  <a:lnTo>
                    <a:pt x="1759" y="814"/>
                  </a:lnTo>
                  <a:lnTo>
                    <a:pt x="1738" y="765"/>
                  </a:lnTo>
                  <a:lnTo>
                    <a:pt x="1738" y="758"/>
                  </a:lnTo>
                  <a:lnTo>
                    <a:pt x="1752" y="758"/>
                  </a:lnTo>
                  <a:lnTo>
                    <a:pt x="1807" y="730"/>
                  </a:lnTo>
                  <a:lnTo>
                    <a:pt x="1821" y="709"/>
                  </a:lnTo>
                  <a:lnTo>
                    <a:pt x="1849" y="688"/>
                  </a:lnTo>
                  <a:lnTo>
                    <a:pt x="1835" y="626"/>
                  </a:lnTo>
                  <a:lnTo>
                    <a:pt x="1877" y="619"/>
                  </a:lnTo>
                  <a:lnTo>
                    <a:pt x="1912" y="612"/>
                  </a:lnTo>
                  <a:lnTo>
                    <a:pt x="1967" y="584"/>
                  </a:lnTo>
                  <a:lnTo>
                    <a:pt x="1974" y="577"/>
                  </a:lnTo>
                  <a:lnTo>
                    <a:pt x="2030" y="549"/>
                  </a:lnTo>
                  <a:lnTo>
                    <a:pt x="2065" y="515"/>
                  </a:lnTo>
                  <a:lnTo>
                    <a:pt x="2086" y="459"/>
                  </a:lnTo>
                  <a:lnTo>
                    <a:pt x="2197" y="438"/>
                  </a:lnTo>
                  <a:lnTo>
                    <a:pt x="2245" y="452"/>
                  </a:lnTo>
                  <a:lnTo>
                    <a:pt x="2266" y="403"/>
                  </a:lnTo>
                  <a:lnTo>
                    <a:pt x="2273" y="369"/>
                  </a:lnTo>
                  <a:lnTo>
                    <a:pt x="2273" y="348"/>
                  </a:lnTo>
                  <a:lnTo>
                    <a:pt x="2280" y="306"/>
                  </a:lnTo>
                  <a:lnTo>
                    <a:pt x="2294" y="271"/>
                  </a:lnTo>
                  <a:lnTo>
                    <a:pt x="2218" y="264"/>
                  </a:lnTo>
                  <a:lnTo>
                    <a:pt x="2106" y="223"/>
                  </a:lnTo>
                  <a:lnTo>
                    <a:pt x="2065" y="236"/>
                  </a:lnTo>
                  <a:lnTo>
                    <a:pt x="2044" y="208"/>
                  </a:lnTo>
                  <a:lnTo>
                    <a:pt x="1974" y="223"/>
                  </a:lnTo>
                  <a:lnTo>
                    <a:pt x="1946" y="174"/>
                  </a:lnTo>
                  <a:lnTo>
                    <a:pt x="1912" y="188"/>
                  </a:lnTo>
                  <a:lnTo>
                    <a:pt x="1800" y="188"/>
                  </a:lnTo>
                  <a:lnTo>
                    <a:pt x="1786" y="167"/>
                  </a:lnTo>
                  <a:lnTo>
                    <a:pt x="1745" y="153"/>
                  </a:lnTo>
                  <a:lnTo>
                    <a:pt x="1724" y="167"/>
                  </a:lnTo>
                  <a:lnTo>
                    <a:pt x="1717" y="167"/>
                  </a:lnTo>
                  <a:lnTo>
                    <a:pt x="1689" y="167"/>
                  </a:lnTo>
                  <a:lnTo>
                    <a:pt x="1647" y="202"/>
                  </a:lnTo>
                  <a:lnTo>
                    <a:pt x="1578" y="195"/>
                  </a:lnTo>
                  <a:lnTo>
                    <a:pt x="1494" y="202"/>
                  </a:lnTo>
                  <a:lnTo>
                    <a:pt x="1494" y="188"/>
                  </a:lnTo>
                  <a:lnTo>
                    <a:pt x="1452" y="167"/>
                  </a:lnTo>
                  <a:lnTo>
                    <a:pt x="1383" y="125"/>
                  </a:lnTo>
                  <a:lnTo>
                    <a:pt x="1265" y="104"/>
                  </a:lnTo>
                  <a:lnTo>
                    <a:pt x="1202" y="104"/>
                  </a:lnTo>
                  <a:lnTo>
                    <a:pt x="1014" y="90"/>
                  </a:lnTo>
                  <a:lnTo>
                    <a:pt x="931" y="76"/>
                  </a:lnTo>
                  <a:lnTo>
                    <a:pt x="889" y="90"/>
                  </a:lnTo>
                  <a:lnTo>
                    <a:pt x="840" y="76"/>
                  </a:lnTo>
                  <a:lnTo>
                    <a:pt x="840" y="42"/>
                  </a:lnTo>
                  <a:lnTo>
                    <a:pt x="826" y="35"/>
                  </a:lnTo>
                  <a:lnTo>
                    <a:pt x="785" y="21"/>
                  </a:lnTo>
                  <a:lnTo>
                    <a:pt x="729" y="0"/>
                  </a:lnTo>
                  <a:lnTo>
                    <a:pt x="673" y="21"/>
                  </a:lnTo>
                  <a:lnTo>
                    <a:pt x="666" y="35"/>
                  </a:lnTo>
                  <a:lnTo>
                    <a:pt x="673" y="90"/>
                  </a:lnTo>
                  <a:lnTo>
                    <a:pt x="694" y="125"/>
                  </a:lnTo>
                  <a:lnTo>
                    <a:pt x="673" y="195"/>
                  </a:lnTo>
                  <a:lnTo>
                    <a:pt x="701" y="223"/>
                  </a:lnTo>
                  <a:lnTo>
                    <a:pt x="673" y="229"/>
                  </a:lnTo>
                  <a:lnTo>
                    <a:pt x="646" y="223"/>
                  </a:lnTo>
                  <a:lnTo>
                    <a:pt x="590" y="257"/>
                  </a:lnTo>
                  <a:lnTo>
                    <a:pt x="506" y="292"/>
                  </a:lnTo>
                  <a:lnTo>
                    <a:pt x="499" y="320"/>
                  </a:lnTo>
                  <a:lnTo>
                    <a:pt x="541" y="355"/>
                  </a:lnTo>
                  <a:lnTo>
                    <a:pt x="555" y="396"/>
                  </a:lnTo>
                  <a:lnTo>
                    <a:pt x="492" y="369"/>
                  </a:lnTo>
                  <a:lnTo>
                    <a:pt x="465" y="396"/>
                  </a:lnTo>
                  <a:lnTo>
                    <a:pt x="410" y="369"/>
                  </a:lnTo>
                  <a:lnTo>
                    <a:pt x="368" y="403"/>
                  </a:lnTo>
                  <a:lnTo>
                    <a:pt x="347" y="396"/>
                  </a:lnTo>
                  <a:lnTo>
                    <a:pt x="340" y="417"/>
                  </a:lnTo>
                  <a:lnTo>
                    <a:pt x="326" y="431"/>
                  </a:lnTo>
                  <a:lnTo>
                    <a:pt x="285" y="480"/>
                  </a:lnTo>
                  <a:lnTo>
                    <a:pt x="285" y="501"/>
                  </a:lnTo>
                  <a:lnTo>
                    <a:pt x="250" y="549"/>
                  </a:lnTo>
                  <a:lnTo>
                    <a:pt x="229" y="556"/>
                  </a:lnTo>
                  <a:lnTo>
                    <a:pt x="236" y="598"/>
                  </a:lnTo>
                  <a:lnTo>
                    <a:pt x="215" y="591"/>
                  </a:lnTo>
                  <a:lnTo>
                    <a:pt x="215" y="619"/>
                  </a:lnTo>
                  <a:lnTo>
                    <a:pt x="153" y="633"/>
                  </a:lnTo>
                  <a:lnTo>
                    <a:pt x="153" y="688"/>
                  </a:lnTo>
                  <a:lnTo>
                    <a:pt x="139" y="688"/>
                  </a:lnTo>
                  <a:lnTo>
                    <a:pt x="90" y="688"/>
                  </a:lnTo>
                  <a:lnTo>
                    <a:pt x="83" y="696"/>
                  </a:lnTo>
                  <a:lnTo>
                    <a:pt x="55" y="709"/>
                  </a:lnTo>
                  <a:lnTo>
                    <a:pt x="48" y="765"/>
                  </a:lnTo>
                  <a:lnTo>
                    <a:pt x="41" y="779"/>
                  </a:lnTo>
                  <a:lnTo>
                    <a:pt x="20" y="786"/>
                  </a:lnTo>
                  <a:lnTo>
                    <a:pt x="0" y="828"/>
                  </a:lnTo>
                  <a:lnTo>
                    <a:pt x="34" y="890"/>
                  </a:lnTo>
                  <a:lnTo>
                    <a:pt x="83" y="925"/>
                  </a:lnTo>
                  <a:lnTo>
                    <a:pt x="111" y="918"/>
                  </a:lnTo>
                  <a:lnTo>
                    <a:pt x="132" y="918"/>
                  </a:lnTo>
                  <a:lnTo>
                    <a:pt x="139" y="918"/>
                  </a:lnTo>
                  <a:lnTo>
                    <a:pt x="132" y="953"/>
                  </a:lnTo>
                  <a:lnTo>
                    <a:pt x="208" y="960"/>
                  </a:lnTo>
                  <a:lnTo>
                    <a:pt x="215" y="1036"/>
                  </a:lnTo>
                  <a:lnTo>
                    <a:pt x="285" y="1092"/>
                  </a:lnTo>
                  <a:lnTo>
                    <a:pt x="285" y="1120"/>
                  </a:lnTo>
                  <a:lnTo>
                    <a:pt x="285" y="1127"/>
                  </a:lnTo>
                  <a:lnTo>
                    <a:pt x="278" y="1169"/>
                  </a:lnTo>
                  <a:lnTo>
                    <a:pt x="271" y="1175"/>
                  </a:lnTo>
                  <a:lnTo>
                    <a:pt x="215" y="1217"/>
                  </a:lnTo>
                  <a:lnTo>
                    <a:pt x="208" y="1224"/>
                  </a:lnTo>
                  <a:lnTo>
                    <a:pt x="146" y="1280"/>
                  </a:lnTo>
                  <a:lnTo>
                    <a:pt x="146" y="1287"/>
                  </a:lnTo>
                  <a:lnTo>
                    <a:pt x="132" y="1322"/>
                  </a:lnTo>
                  <a:lnTo>
                    <a:pt x="132" y="1336"/>
                  </a:lnTo>
                  <a:lnTo>
                    <a:pt x="153" y="1370"/>
                  </a:lnTo>
                  <a:lnTo>
                    <a:pt x="173" y="1447"/>
                  </a:lnTo>
                  <a:lnTo>
                    <a:pt x="173" y="1530"/>
                  </a:lnTo>
                  <a:lnTo>
                    <a:pt x="229" y="1537"/>
                  </a:lnTo>
                  <a:lnTo>
                    <a:pt x="236" y="1551"/>
                  </a:lnTo>
                  <a:lnTo>
                    <a:pt x="271" y="1579"/>
                  </a:lnTo>
                  <a:lnTo>
                    <a:pt x="306" y="1586"/>
                  </a:lnTo>
                  <a:lnTo>
                    <a:pt x="326" y="1628"/>
                  </a:lnTo>
                  <a:lnTo>
                    <a:pt x="334" y="1628"/>
                  </a:lnTo>
                  <a:lnTo>
                    <a:pt x="313" y="1642"/>
                  </a:lnTo>
                  <a:lnTo>
                    <a:pt x="340" y="1669"/>
                  </a:lnTo>
                  <a:lnTo>
                    <a:pt x="347" y="1711"/>
                  </a:lnTo>
                  <a:lnTo>
                    <a:pt x="375" y="1718"/>
                  </a:lnTo>
                  <a:lnTo>
                    <a:pt x="382" y="1760"/>
                  </a:lnTo>
                  <a:lnTo>
                    <a:pt x="375" y="1767"/>
                  </a:lnTo>
                  <a:lnTo>
                    <a:pt x="396" y="1795"/>
                  </a:lnTo>
                  <a:lnTo>
                    <a:pt x="403" y="1795"/>
                  </a:lnTo>
                  <a:lnTo>
                    <a:pt x="410" y="1795"/>
                  </a:lnTo>
                  <a:lnTo>
                    <a:pt x="410" y="1801"/>
                  </a:lnTo>
                  <a:lnTo>
                    <a:pt x="430" y="1801"/>
                  </a:lnTo>
                  <a:lnTo>
                    <a:pt x="458" y="1815"/>
                  </a:lnTo>
                  <a:lnTo>
                    <a:pt x="458" y="1809"/>
                  </a:lnTo>
                  <a:lnTo>
                    <a:pt x="465" y="1767"/>
                  </a:lnTo>
                  <a:lnTo>
                    <a:pt x="492" y="1795"/>
                  </a:lnTo>
                  <a:lnTo>
                    <a:pt x="506" y="1801"/>
                  </a:lnTo>
                  <a:lnTo>
                    <a:pt x="513" y="1809"/>
                  </a:lnTo>
                  <a:lnTo>
                    <a:pt x="534" y="1815"/>
                  </a:lnTo>
                  <a:lnTo>
                    <a:pt x="541" y="1836"/>
                  </a:lnTo>
                  <a:lnTo>
                    <a:pt x="541" y="1843"/>
                  </a:lnTo>
                  <a:lnTo>
                    <a:pt x="562" y="1871"/>
                  </a:lnTo>
                  <a:lnTo>
                    <a:pt x="597" y="1843"/>
                  </a:lnTo>
                  <a:lnTo>
                    <a:pt x="611" y="1836"/>
                  </a:lnTo>
                  <a:lnTo>
                    <a:pt x="646" y="1795"/>
                  </a:lnTo>
                  <a:lnTo>
                    <a:pt x="673" y="1774"/>
                  </a:lnTo>
                  <a:lnTo>
                    <a:pt x="694" y="1795"/>
                  </a:lnTo>
                  <a:lnTo>
                    <a:pt x="757" y="1732"/>
                  </a:lnTo>
                  <a:lnTo>
                    <a:pt x="785" y="1760"/>
                  </a:lnTo>
                  <a:lnTo>
                    <a:pt x="792" y="1801"/>
                  </a:lnTo>
                  <a:lnTo>
                    <a:pt x="819" y="1801"/>
                  </a:lnTo>
                  <a:lnTo>
                    <a:pt x="826" y="1774"/>
                  </a:lnTo>
                  <a:lnTo>
                    <a:pt x="854" y="1760"/>
                  </a:lnTo>
                  <a:lnTo>
                    <a:pt x="889" y="1746"/>
                  </a:lnTo>
                  <a:lnTo>
                    <a:pt x="917" y="1746"/>
                  </a:lnTo>
                  <a:lnTo>
                    <a:pt x="917" y="1760"/>
                  </a:lnTo>
                  <a:lnTo>
                    <a:pt x="896" y="1781"/>
                  </a:lnTo>
                  <a:lnTo>
                    <a:pt x="924" y="1795"/>
                  </a:lnTo>
                  <a:lnTo>
                    <a:pt x="952" y="1801"/>
                  </a:lnTo>
                  <a:lnTo>
                    <a:pt x="965" y="1795"/>
                  </a:lnTo>
                  <a:lnTo>
                    <a:pt x="986" y="1781"/>
                  </a:lnTo>
                  <a:lnTo>
                    <a:pt x="1000" y="1815"/>
                  </a:lnTo>
                  <a:lnTo>
                    <a:pt x="1021" y="1809"/>
                  </a:lnTo>
                  <a:lnTo>
                    <a:pt x="1049" y="1801"/>
                  </a:lnTo>
                  <a:lnTo>
                    <a:pt x="1049" y="1760"/>
                  </a:lnTo>
                  <a:lnTo>
                    <a:pt x="1063" y="1767"/>
                  </a:lnTo>
                  <a:lnTo>
                    <a:pt x="1084" y="178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4" name="Freeform 93"/>
            <p:cNvSpPr>
              <a:spLocks noChangeArrowheads="1"/>
            </p:cNvSpPr>
            <p:nvPr/>
          </p:nvSpPr>
          <p:spPr bwMode="auto">
            <a:xfrm>
              <a:off x="18197959" y="3921665"/>
              <a:ext cx="35209" cy="37282"/>
            </a:xfrm>
            <a:custGeom>
              <a:avLst/>
              <a:gdLst>
                <a:gd name="T0" fmla="*/ 42 w 77"/>
                <a:gd name="T1" fmla="*/ 56 h 78"/>
                <a:gd name="T2" fmla="*/ 69 w 77"/>
                <a:gd name="T3" fmla="*/ 49 h 78"/>
                <a:gd name="T4" fmla="*/ 76 w 77"/>
                <a:gd name="T5" fmla="*/ 77 h 78"/>
                <a:gd name="T6" fmla="*/ 0 w 77"/>
                <a:gd name="T7" fmla="*/ 49 h 78"/>
                <a:gd name="T8" fmla="*/ 7 w 77"/>
                <a:gd name="T9" fmla="*/ 35 h 78"/>
                <a:gd name="T10" fmla="*/ 14 w 77"/>
                <a:gd name="T11" fmla="*/ 14 h 78"/>
                <a:gd name="T12" fmla="*/ 34 w 77"/>
                <a:gd name="T13" fmla="*/ 14 h 78"/>
                <a:gd name="T14" fmla="*/ 55 w 77"/>
                <a:gd name="T15" fmla="*/ 0 h 78"/>
                <a:gd name="T16" fmla="*/ 48 w 77"/>
                <a:gd name="T17" fmla="*/ 21 h 78"/>
                <a:gd name="T18" fmla="*/ 76 w 77"/>
                <a:gd name="T19" fmla="*/ 35 h 78"/>
                <a:gd name="T20" fmla="*/ 69 w 77"/>
                <a:gd name="T21" fmla="*/ 42 h 78"/>
                <a:gd name="T22" fmla="*/ 34 w 77"/>
                <a:gd name="T23" fmla="*/ 42 h 78"/>
                <a:gd name="T24" fmla="*/ 42 w 77"/>
                <a:gd name="T25" fmla="*/ 5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78">
                  <a:moveTo>
                    <a:pt x="42" y="56"/>
                  </a:moveTo>
                  <a:lnTo>
                    <a:pt x="69" y="49"/>
                  </a:lnTo>
                  <a:lnTo>
                    <a:pt x="76" y="77"/>
                  </a:lnTo>
                  <a:lnTo>
                    <a:pt x="0" y="49"/>
                  </a:lnTo>
                  <a:lnTo>
                    <a:pt x="7" y="35"/>
                  </a:lnTo>
                  <a:lnTo>
                    <a:pt x="14" y="14"/>
                  </a:lnTo>
                  <a:lnTo>
                    <a:pt x="34" y="14"/>
                  </a:lnTo>
                  <a:lnTo>
                    <a:pt x="55" y="0"/>
                  </a:lnTo>
                  <a:lnTo>
                    <a:pt x="48" y="21"/>
                  </a:lnTo>
                  <a:lnTo>
                    <a:pt x="76" y="35"/>
                  </a:lnTo>
                  <a:lnTo>
                    <a:pt x="69" y="42"/>
                  </a:lnTo>
                  <a:lnTo>
                    <a:pt x="34" y="42"/>
                  </a:lnTo>
                  <a:lnTo>
                    <a:pt x="42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5" name="Freeform 94"/>
            <p:cNvSpPr>
              <a:spLocks noChangeArrowheads="1"/>
            </p:cNvSpPr>
            <p:nvPr/>
          </p:nvSpPr>
          <p:spPr bwMode="auto">
            <a:xfrm>
              <a:off x="18104759" y="3932020"/>
              <a:ext cx="16569" cy="26927"/>
            </a:xfrm>
            <a:custGeom>
              <a:avLst/>
              <a:gdLst>
                <a:gd name="T0" fmla="*/ 14 w 36"/>
                <a:gd name="T1" fmla="*/ 35 h 57"/>
                <a:gd name="T2" fmla="*/ 21 w 36"/>
                <a:gd name="T3" fmla="*/ 49 h 57"/>
                <a:gd name="T4" fmla="*/ 7 w 36"/>
                <a:gd name="T5" fmla="*/ 56 h 57"/>
                <a:gd name="T6" fmla="*/ 21 w 36"/>
                <a:gd name="T7" fmla="*/ 56 h 57"/>
                <a:gd name="T8" fmla="*/ 35 w 36"/>
                <a:gd name="T9" fmla="*/ 14 h 57"/>
                <a:gd name="T10" fmla="*/ 14 w 36"/>
                <a:gd name="T11" fmla="*/ 0 h 57"/>
                <a:gd name="T12" fmla="*/ 0 w 36"/>
                <a:gd name="T13" fmla="*/ 28 h 57"/>
                <a:gd name="T14" fmla="*/ 0 w 36"/>
                <a:gd name="T15" fmla="*/ 35 h 57"/>
                <a:gd name="T16" fmla="*/ 14 w 36"/>
                <a:gd name="T17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57">
                  <a:moveTo>
                    <a:pt x="14" y="35"/>
                  </a:moveTo>
                  <a:lnTo>
                    <a:pt x="21" y="49"/>
                  </a:lnTo>
                  <a:lnTo>
                    <a:pt x="7" y="56"/>
                  </a:lnTo>
                  <a:lnTo>
                    <a:pt x="21" y="56"/>
                  </a:lnTo>
                  <a:lnTo>
                    <a:pt x="35" y="14"/>
                  </a:lnTo>
                  <a:lnTo>
                    <a:pt x="14" y="0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14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6" name="Freeform 95"/>
            <p:cNvSpPr>
              <a:spLocks noChangeArrowheads="1"/>
            </p:cNvSpPr>
            <p:nvPr/>
          </p:nvSpPr>
          <p:spPr bwMode="auto">
            <a:xfrm>
              <a:off x="18262163" y="3944447"/>
              <a:ext cx="16569" cy="26927"/>
            </a:xfrm>
            <a:custGeom>
              <a:avLst/>
              <a:gdLst>
                <a:gd name="T0" fmla="*/ 0 w 36"/>
                <a:gd name="T1" fmla="*/ 56 h 57"/>
                <a:gd name="T2" fmla="*/ 28 w 36"/>
                <a:gd name="T3" fmla="*/ 21 h 57"/>
                <a:gd name="T4" fmla="*/ 35 w 36"/>
                <a:gd name="T5" fmla="*/ 7 h 57"/>
                <a:gd name="T6" fmla="*/ 28 w 36"/>
                <a:gd name="T7" fmla="*/ 0 h 57"/>
                <a:gd name="T8" fmla="*/ 14 w 36"/>
                <a:gd name="T9" fmla="*/ 21 h 57"/>
                <a:gd name="T10" fmla="*/ 0 w 36"/>
                <a:gd name="T11" fmla="*/ 28 h 57"/>
                <a:gd name="T12" fmla="*/ 0 w 36"/>
                <a:gd name="T13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57">
                  <a:moveTo>
                    <a:pt x="0" y="56"/>
                  </a:moveTo>
                  <a:lnTo>
                    <a:pt x="28" y="21"/>
                  </a:lnTo>
                  <a:lnTo>
                    <a:pt x="35" y="7"/>
                  </a:lnTo>
                  <a:lnTo>
                    <a:pt x="28" y="0"/>
                  </a:lnTo>
                  <a:lnTo>
                    <a:pt x="14" y="21"/>
                  </a:lnTo>
                  <a:lnTo>
                    <a:pt x="0" y="28"/>
                  </a:lnTo>
                  <a:lnTo>
                    <a:pt x="0" y="5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7" name="Freeform 96"/>
            <p:cNvSpPr>
              <a:spLocks noChangeArrowheads="1"/>
            </p:cNvSpPr>
            <p:nvPr/>
          </p:nvSpPr>
          <p:spPr bwMode="auto">
            <a:xfrm>
              <a:off x="18125471" y="3938235"/>
              <a:ext cx="45565" cy="10356"/>
            </a:xfrm>
            <a:custGeom>
              <a:avLst/>
              <a:gdLst>
                <a:gd name="T0" fmla="*/ 76 w 98"/>
                <a:gd name="T1" fmla="*/ 14 h 22"/>
                <a:gd name="T2" fmla="*/ 97 w 98"/>
                <a:gd name="T3" fmla="*/ 0 h 22"/>
                <a:gd name="T4" fmla="*/ 0 w 98"/>
                <a:gd name="T5" fmla="*/ 21 h 22"/>
                <a:gd name="T6" fmla="*/ 41 w 98"/>
                <a:gd name="T7" fmla="*/ 14 h 22"/>
                <a:gd name="T8" fmla="*/ 76 w 98"/>
                <a:gd name="T9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22">
                  <a:moveTo>
                    <a:pt x="76" y="14"/>
                  </a:moveTo>
                  <a:lnTo>
                    <a:pt x="97" y="0"/>
                  </a:lnTo>
                  <a:lnTo>
                    <a:pt x="0" y="21"/>
                  </a:lnTo>
                  <a:lnTo>
                    <a:pt x="41" y="14"/>
                  </a:lnTo>
                  <a:lnTo>
                    <a:pt x="76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8" name="Freeform 97"/>
            <p:cNvSpPr>
              <a:spLocks noChangeArrowheads="1"/>
            </p:cNvSpPr>
            <p:nvPr/>
          </p:nvSpPr>
          <p:spPr bwMode="auto">
            <a:xfrm>
              <a:off x="18104759" y="3921664"/>
              <a:ext cx="16569" cy="6213"/>
            </a:xfrm>
            <a:custGeom>
              <a:avLst/>
              <a:gdLst>
                <a:gd name="T0" fmla="*/ 14 w 36"/>
                <a:gd name="T1" fmla="*/ 14 h 15"/>
                <a:gd name="T2" fmla="*/ 35 w 36"/>
                <a:gd name="T3" fmla="*/ 0 h 15"/>
                <a:gd name="T4" fmla="*/ 0 w 36"/>
                <a:gd name="T5" fmla="*/ 7 h 15"/>
                <a:gd name="T6" fmla="*/ 14 w 36"/>
                <a:gd name="T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5">
                  <a:moveTo>
                    <a:pt x="14" y="14"/>
                  </a:moveTo>
                  <a:lnTo>
                    <a:pt x="35" y="0"/>
                  </a:lnTo>
                  <a:lnTo>
                    <a:pt x="0" y="7"/>
                  </a:lnTo>
                  <a:lnTo>
                    <a:pt x="14" y="14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39" name="Freeform 98"/>
            <p:cNvSpPr>
              <a:spLocks noChangeArrowheads="1"/>
            </p:cNvSpPr>
            <p:nvPr/>
          </p:nvSpPr>
          <p:spPr bwMode="auto">
            <a:xfrm>
              <a:off x="18262164" y="3932020"/>
              <a:ext cx="4142" cy="10357"/>
            </a:xfrm>
            <a:custGeom>
              <a:avLst/>
              <a:gdLst>
                <a:gd name="T0" fmla="*/ 0 w 8"/>
                <a:gd name="T1" fmla="*/ 0 h 22"/>
                <a:gd name="T2" fmla="*/ 7 w 8"/>
                <a:gd name="T3" fmla="*/ 0 h 22"/>
                <a:gd name="T4" fmla="*/ 0 w 8"/>
                <a:gd name="T5" fmla="*/ 21 h 22"/>
                <a:gd name="T6" fmla="*/ 0 w 8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2">
                  <a:moveTo>
                    <a:pt x="0" y="0"/>
                  </a:moveTo>
                  <a:lnTo>
                    <a:pt x="7" y="0"/>
                  </a:lnTo>
                  <a:lnTo>
                    <a:pt x="0" y="21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0" name="Freeform 99"/>
            <p:cNvSpPr>
              <a:spLocks noChangeArrowheads="1"/>
            </p:cNvSpPr>
            <p:nvPr/>
          </p:nvSpPr>
          <p:spPr bwMode="auto">
            <a:xfrm>
              <a:off x="18125470" y="3932021"/>
              <a:ext cx="6213" cy="6214"/>
            </a:xfrm>
            <a:custGeom>
              <a:avLst/>
              <a:gdLst>
                <a:gd name="T0" fmla="*/ 0 w 15"/>
                <a:gd name="T1" fmla="*/ 0 h 15"/>
                <a:gd name="T2" fmla="*/ 14 w 15"/>
                <a:gd name="T3" fmla="*/ 0 h 15"/>
                <a:gd name="T4" fmla="*/ 7 w 15"/>
                <a:gd name="T5" fmla="*/ 14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lnTo>
                    <a:pt x="14" y="0"/>
                  </a:lnTo>
                  <a:lnTo>
                    <a:pt x="7" y="14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1" name="Freeform 100"/>
            <p:cNvSpPr>
              <a:spLocks noChangeArrowheads="1"/>
            </p:cNvSpPr>
            <p:nvPr/>
          </p:nvSpPr>
          <p:spPr bwMode="auto">
            <a:xfrm>
              <a:off x="18235239" y="3927879"/>
              <a:ext cx="4142" cy="4142"/>
            </a:xfrm>
            <a:custGeom>
              <a:avLst/>
              <a:gdLst>
                <a:gd name="T0" fmla="*/ 0 w 8"/>
                <a:gd name="T1" fmla="*/ 7 h 8"/>
                <a:gd name="T2" fmla="*/ 7 w 8"/>
                <a:gd name="T3" fmla="*/ 0 h 8"/>
                <a:gd name="T4" fmla="*/ 0 w 8"/>
                <a:gd name="T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2" name="Freeform 101"/>
            <p:cNvSpPr>
              <a:spLocks noChangeArrowheads="1"/>
            </p:cNvSpPr>
            <p:nvPr/>
          </p:nvSpPr>
          <p:spPr bwMode="auto">
            <a:xfrm>
              <a:off x="17905932" y="3961018"/>
              <a:ext cx="6213" cy="39354"/>
            </a:xfrm>
            <a:custGeom>
              <a:avLst/>
              <a:gdLst>
                <a:gd name="T0" fmla="*/ 0 w 14"/>
                <a:gd name="T1" fmla="*/ 21 h 84"/>
                <a:gd name="T2" fmla="*/ 0 w 14"/>
                <a:gd name="T3" fmla="*/ 35 h 84"/>
                <a:gd name="T4" fmla="*/ 7 w 14"/>
                <a:gd name="T5" fmla="*/ 83 h 84"/>
                <a:gd name="T6" fmla="*/ 13 w 14"/>
                <a:gd name="T7" fmla="*/ 49 h 84"/>
                <a:gd name="T8" fmla="*/ 7 w 14"/>
                <a:gd name="T9" fmla="*/ 21 h 84"/>
                <a:gd name="T10" fmla="*/ 7 w 14"/>
                <a:gd name="T11" fmla="*/ 0 h 84"/>
                <a:gd name="T12" fmla="*/ 0 w 14"/>
                <a:gd name="T13" fmla="*/ 2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4">
                  <a:moveTo>
                    <a:pt x="0" y="21"/>
                  </a:moveTo>
                  <a:lnTo>
                    <a:pt x="0" y="35"/>
                  </a:lnTo>
                  <a:lnTo>
                    <a:pt x="7" y="83"/>
                  </a:lnTo>
                  <a:lnTo>
                    <a:pt x="13" y="49"/>
                  </a:lnTo>
                  <a:lnTo>
                    <a:pt x="7" y="21"/>
                  </a:lnTo>
                  <a:lnTo>
                    <a:pt x="7" y="0"/>
                  </a:lnTo>
                  <a:lnTo>
                    <a:pt x="0" y="21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3" name="Freeform 102"/>
            <p:cNvSpPr>
              <a:spLocks noChangeArrowheads="1"/>
            </p:cNvSpPr>
            <p:nvPr/>
          </p:nvSpPr>
          <p:spPr bwMode="auto">
            <a:xfrm>
              <a:off x="17433719" y="4234423"/>
              <a:ext cx="89058" cy="202982"/>
            </a:xfrm>
            <a:custGeom>
              <a:avLst/>
              <a:gdLst>
                <a:gd name="T0" fmla="*/ 90 w 189"/>
                <a:gd name="T1" fmla="*/ 118 h 433"/>
                <a:gd name="T2" fmla="*/ 139 w 189"/>
                <a:gd name="T3" fmla="*/ 35 h 433"/>
                <a:gd name="T4" fmla="*/ 167 w 189"/>
                <a:gd name="T5" fmla="*/ 0 h 433"/>
                <a:gd name="T6" fmla="*/ 188 w 189"/>
                <a:gd name="T7" fmla="*/ 7 h 433"/>
                <a:gd name="T8" fmla="*/ 111 w 189"/>
                <a:gd name="T9" fmla="*/ 91 h 433"/>
                <a:gd name="T10" fmla="*/ 97 w 189"/>
                <a:gd name="T11" fmla="*/ 125 h 433"/>
                <a:gd name="T12" fmla="*/ 69 w 189"/>
                <a:gd name="T13" fmla="*/ 167 h 433"/>
                <a:gd name="T14" fmla="*/ 69 w 189"/>
                <a:gd name="T15" fmla="*/ 195 h 433"/>
                <a:gd name="T16" fmla="*/ 63 w 189"/>
                <a:gd name="T17" fmla="*/ 223 h 433"/>
                <a:gd name="T18" fmla="*/ 28 w 189"/>
                <a:gd name="T19" fmla="*/ 355 h 433"/>
                <a:gd name="T20" fmla="*/ 14 w 189"/>
                <a:gd name="T21" fmla="*/ 404 h 433"/>
                <a:gd name="T22" fmla="*/ 7 w 189"/>
                <a:gd name="T23" fmla="*/ 424 h 433"/>
                <a:gd name="T24" fmla="*/ 7 w 189"/>
                <a:gd name="T25" fmla="*/ 432 h 433"/>
                <a:gd name="T26" fmla="*/ 0 w 189"/>
                <a:gd name="T27" fmla="*/ 432 h 433"/>
                <a:gd name="T28" fmla="*/ 0 w 189"/>
                <a:gd name="T29" fmla="*/ 424 h 433"/>
                <a:gd name="T30" fmla="*/ 14 w 189"/>
                <a:gd name="T31" fmla="*/ 397 h 433"/>
                <a:gd name="T32" fmla="*/ 14 w 189"/>
                <a:gd name="T33" fmla="*/ 327 h 433"/>
                <a:gd name="T34" fmla="*/ 42 w 189"/>
                <a:gd name="T35" fmla="*/ 230 h 433"/>
                <a:gd name="T36" fmla="*/ 56 w 189"/>
                <a:gd name="T37" fmla="*/ 223 h 433"/>
                <a:gd name="T38" fmla="*/ 42 w 189"/>
                <a:gd name="T39" fmla="*/ 223 h 433"/>
                <a:gd name="T40" fmla="*/ 56 w 189"/>
                <a:gd name="T41" fmla="*/ 202 h 433"/>
                <a:gd name="T42" fmla="*/ 35 w 189"/>
                <a:gd name="T43" fmla="*/ 202 h 433"/>
                <a:gd name="T44" fmla="*/ 42 w 189"/>
                <a:gd name="T45" fmla="*/ 188 h 433"/>
                <a:gd name="T46" fmla="*/ 69 w 189"/>
                <a:gd name="T47" fmla="*/ 160 h 433"/>
                <a:gd name="T48" fmla="*/ 90 w 189"/>
                <a:gd name="T49" fmla="*/ 118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9" h="433">
                  <a:moveTo>
                    <a:pt x="90" y="118"/>
                  </a:moveTo>
                  <a:lnTo>
                    <a:pt x="139" y="35"/>
                  </a:lnTo>
                  <a:lnTo>
                    <a:pt x="167" y="0"/>
                  </a:lnTo>
                  <a:lnTo>
                    <a:pt x="188" y="7"/>
                  </a:lnTo>
                  <a:lnTo>
                    <a:pt x="111" y="91"/>
                  </a:lnTo>
                  <a:lnTo>
                    <a:pt x="97" y="125"/>
                  </a:lnTo>
                  <a:lnTo>
                    <a:pt x="69" y="167"/>
                  </a:lnTo>
                  <a:lnTo>
                    <a:pt x="69" y="195"/>
                  </a:lnTo>
                  <a:lnTo>
                    <a:pt x="63" y="223"/>
                  </a:lnTo>
                  <a:lnTo>
                    <a:pt x="28" y="355"/>
                  </a:lnTo>
                  <a:lnTo>
                    <a:pt x="14" y="404"/>
                  </a:lnTo>
                  <a:lnTo>
                    <a:pt x="7" y="424"/>
                  </a:lnTo>
                  <a:lnTo>
                    <a:pt x="7" y="432"/>
                  </a:lnTo>
                  <a:lnTo>
                    <a:pt x="0" y="432"/>
                  </a:lnTo>
                  <a:lnTo>
                    <a:pt x="0" y="424"/>
                  </a:lnTo>
                  <a:lnTo>
                    <a:pt x="14" y="397"/>
                  </a:lnTo>
                  <a:lnTo>
                    <a:pt x="14" y="327"/>
                  </a:lnTo>
                  <a:lnTo>
                    <a:pt x="42" y="230"/>
                  </a:lnTo>
                  <a:lnTo>
                    <a:pt x="56" y="223"/>
                  </a:lnTo>
                  <a:lnTo>
                    <a:pt x="42" y="223"/>
                  </a:lnTo>
                  <a:lnTo>
                    <a:pt x="56" y="202"/>
                  </a:lnTo>
                  <a:lnTo>
                    <a:pt x="35" y="202"/>
                  </a:lnTo>
                  <a:lnTo>
                    <a:pt x="42" y="188"/>
                  </a:lnTo>
                  <a:lnTo>
                    <a:pt x="69" y="160"/>
                  </a:lnTo>
                  <a:lnTo>
                    <a:pt x="90" y="118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4" name="Freeform 103"/>
            <p:cNvSpPr>
              <a:spLocks noChangeArrowheads="1"/>
            </p:cNvSpPr>
            <p:nvPr/>
          </p:nvSpPr>
          <p:spPr bwMode="auto">
            <a:xfrm>
              <a:off x="17475142" y="4205424"/>
              <a:ext cx="16569" cy="10357"/>
            </a:xfrm>
            <a:custGeom>
              <a:avLst/>
              <a:gdLst>
                <a:gd name="T0" fmla="*/ 14 w 36"/>
                <a:gd name="T1" fmla="*/ 0 h 22"/>
                <a:gd name="T2" fmla="*/ 0 w 36"/>
                <a:gd name="T3" fmla="*/ 6 h 22"/>
                <a:gd name="T4" fmla="*/ 7 w 36"/>
                <a:gd name="T5" fmla="*/ 21 h 22"/>
                <a:gd name="T6" fmla="*/ 35 w 36"/>
                <a:gd name="T7" fmla="*/ 6 h 22"/>
                <a:gd name="T8" fmla="*/ 14 w 3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14" y="0"/>
                  </a:moveTo>
                  <a:lnTo>
                    <a:pt x="0" y="6"/>
                  </a:lnTo>
                  <a:lnTo>
                    <a:pt x="7" y="21"/>
                  </a:lnTo>
                  <a:lnTo>
                    <a:pt x="35" y="6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5" name="Freeform 104"/>
            <p:cNvSpPr>
              <a:spLocks noChangeArrowheads="1"/>
            </p:cNvSpPr>
            <p:nvPr/>
          </p:nvSpPr>
          <p:spPr bwMode="auto">
            <a:xfrm>
              <a:off x="17452359" y="4238565"/>
              <a:ext cx="16569" cy="6214"/>
            </a:xfrm>
            <a:custGeom>
              <a:avLst/>
              <a:gdLst>
                <a:gd name="T0" fmla="*/ 14 w 35"/>
                <a:gd name="T1" fmla="*/ 0 h 15"/>
                <a:gd name="T2" fmla="*/ 34 w 35"/>
                <a:gd name="T3" fmla="*/ 0 h 15"/>
                <a:gd name="T4" fmla="*/ 34 w 35"/>
                <a:gd name="T5" fmla="*/ 14 h 15"/>
                <a:gd name="T6" fmla="*/ 0 w 35"/>
                <a:gd name="T7" fmla="*/ 0 h 15"/>
                <a:gd name="T8" fmla="*/ 14 w 3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5">
                  <a:moveTo>
                    <a:pt x="14" y="0"/>
                  </a:moveTo>
                  <a:lnTo>
                    <a:pt x="34" y="0"/>
                  </a:lnTo>
                  <a:lnTo>
                    <a:pt x="34" y="14"/>
                  </a:lnTo>
                  <a:lnTo>
                    <a:pt x="0" y="0"/>
                  </a:lnTo>
                  <a:lnTo>
                    <a:pt x="14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6" name="Freeform 105"/>
            <p:cNvSpPr>
              <a:spLocks noChangeArrowheads="1"/>
            </p:cNvSpPr>
            <p:nvPr/>
          </p:nvSpPr>
          <p:spPr bwMode="auto">
            <a:xfrm>
              <a:off x="17475142" y="4238564"/>
              <a:ext cx="4142" cy="2072"/>
            </a:xfrm>
            <a:custGeom>
              <a:avLst/>
              <a:gdLst>
                <a:gd name="T0" fmla="*/ 0 w 8"/>
                <a:gd name="T1" fmla="*/ 0 h 1"/>
                <a:gd name="T2" fmla="*/ 7 w 8"/>
                <a:gd name="T3" fmla="*/ 0 h 1"/>
                <a:gd name="T4" fmla="*/ 0 w 8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7" name="Freeform 106"/>
            <p:cNvSpPr>
              <a:spLocks noChangeArrowheads="1"/>
            </p:cNvSpPr>
            <p:nvPr/>
          </p:nvSpPr>
          <p:spPr bwMode="auto">
            <a:xfrm>
              <a:off x="16141347" y="2950251"/>
              <a:ext cx="1921989" cy="1944899"/>
            </a:xfrm>
            <a:custGeom>
              <a:avLst/>
              <a:gdLst>
                <a:gd name="T0" fmla="*/ 3262 w 4091"/>
                <a:gd name="T1" fmla="*/ 1886 h 4140"/>
                <a:gd name="T2" fmla="*/ 3415 w 4091"/>
                <a:gd name="T3" fmla="*/ 1913 h 4140"/>
                <a:gd name="T4" fmla="*/ 3693 w 4091"/>
                <a:gd name="T5" fmla="*/ 1823 h 4140"/>
                <a:gd name="T6" fmla="*/ 3853 w 4091"/>
                <a:gd name="T7" fmla="*/ 1878 h 4140"/>
                <a:gd name="T8" fmla="*/ 3902 w 4091"/>
                <a:gd name="T9" fmla="*/ 1934 h 4140"/>
                <a:gd name="T10" fmla="*/ 3992 w 4091"/>
                <a:gd name="T11" fmla="*/ 2143 h 4140"/>
                <a:gd name="T12" fmla="*/ 3902 w 4091"/>
                <a:gd name="T13" fmla="*/ 2310 h 4140"/>
                <a:gd name="T14" fmla="*/ 3763 w 4091"/>
                <a:gd name="T15" fmla="*/ 2171 h 4140"/>
                <a:gd name="T16" fmla="*/ 3763 w 4091"/>
                <a:gd name="T17" fmla="*/ 2338 h 4140"/>
                <a:gd name="T18" fmla="*/ 2984 w 4091"/>
                <a:gd name="T19" fmla="*/ 2741 h 4140"/>
                <a:gd name="T20" fmla="*/ 3117 w 4091"/>
                <a:gd name="T21" fmla="*/ 2595 h 4140"/>
                <a:gd name="T22" fmla="*/ 3179 w 4091"/>
                <a:gd name="T23" fmla="*/ 2428 h 4140"/>
                <a:gd name="T24" fmla="*/ 3033 w 4091"/>
                <a:gd name="T25" fmla="*/ 2567 h 4140"/>
                <a:gd name="T26" fmla="*/ 3040 w 4091"/>
                <a:gd name="T27" fmla="*/ 2637 h 4140"/>
                <a:gd name="T28" fmla="*/ 2880 w 4091"/>
                <a:gd name="T29" fmla="*/ 2567 h 4140"/>
                <a:gd name="T30" fmla="*/ 2817 w 4091"/>
                <a:gd name="T31" fmla="*/ 2699 h 4140"/>
                <a:gd name="T32" fmla="*/ 2824 w 4091"/>
                <a:gd name="T33" fmla="*/ 2741 h 4140"/>
                <a:gd name="T34" fmla="*/ 2727 w 4091"/>
                <a:gd name="T35" fmla="*/ 2665 h 4140"/>
                <a:gd name="T36" fmla="*/ 2644 w 4091"/>
                <a:gd name="T37" fmla="*/ 3006 h 4140"/>
                <a:gd name="T38" fmla="*/ 2657 w 4091"/>
                <a:gd name="T39" fmla="*/ 3158 h 4140"/>
                <a:gd name="T40" fmla="*/ 2720 w 4091"/>
                <a:gd name="T41" fmla="*/ 3228 h 4140"/>
                <a:gd name="T42" fmla="*/ 2817 w 4091"/>
                <a:gd name="T43" fmla="*/ 3485 h 4140"/>
                <a:gd name="T44" fmla="*/ 3054 w 4091"/>
                <a:gd name="T45" fmla="*/ 3694 h 4140"/>
                <a:gd name="T46" fmla="*/ 3089 w 4091"/>
                <a:gd name="T47" fmla="*/ 3826 h 4140"/>
                <a:gd name="T48" fmla="*/ 2991 w 4091"/>
                <a:gd name="T49" fmla="*/ 4035 h 4140"/>
                <a:gd name="T50" fmla="*/ 2922 w 4091"/>
                <a:gd name="T51" fmla="*/ 4042 h 4140"/>
                <a:gd name="T52" fmla="*/ 2741 w 4091"/>
                <a:gd name="T53" fmla="*/ 3958 h 4140"/>
                <a:gd name="T54" fmla="*/ 2588 w 4091"/>
                <a:gd name="T55" fmla="*/ 3847 h 4140"/>
                <a:gd name="T56" fmla="*/ 2379 w 4091"/>
                <a:gd name="T57" fmla="*/ 3750 h 4140"/>
                <a:gd name="T58" fmla="*/ 1857 w 4091"/>
                <a:gd name="T59" fmla="*/ 3778 h 4140"/>
                <a:gd name="T60" fmla="*/ 1398 w 4091"/>
                <a:gd name="T61" fmla="*/ 3819 h 4140"/>
                <a:gd name="T62" fmla="*/ 1057 w 4091"/>
                <a:gd name="T63" fmla="*/ 3618 h 4140"/>
                <a:gd name="T64" fmla="*/ 918 w 4091"/>
                <a:gd name="T65" fmla="*/ 3479 h 4140"/>
                <a:gd name="T66" fmla="*/ 682 w 4091"/>
                <a:gd name="T67" fmla="*/ 3416 h 4140"/>
                <a:gd name="T68" fmla="*/ 522 w 4091"/>
                <a:gd name="T69" fmla="*/ 3214 h 4140"/>
                <a:gd name="T70" fmla="*/ 216 w 4091"/>
                <a:gd name="T71" fmla="*/ 3040 h 4140"/>
                <a:gd name="T72" fmla="*/ 167 w 4091"/>
                <a:gd name="T73" fmla="*/ 2804 h 4140"/>
                <a:gd name="T74" fmla="*/ 35 w 4091"/>
                <a:gd name="T75" fmla="*/ 2630 h 4140"/>
                <a:gd name="T76" fmla="*/ 369 w 4091"/>
                <a:gd name="T77" fmla="*/ 1858 h 4140"/>
                <a:gd name="T78" fmla="*/ 529 w 4091"/>
                <a:gd name="T79" fmla="*/ 2205 h 4140"/>
                <a:gd name="T80" fmla="*/ 724 w 4091"/>
                <a:gd name="T81" fmla="*/ 2108 h 4140"/>
                <a:gd name="T82" fmla="*/ 953 w 4091"/>
                <a:gd name="T83" fmla="*/ 1941 h 4140"/>
                <a:gd name="T84" fmla="*/ 1057 w 4091"/>
                <a:gd name="T85" fmla="*/ 1677 h 4140"/>
                <a:gd name="T86" fmla="*/ 1203 w 4091"/>
                <a:gd name="T87" fmla="*/ 1656 h 4140"/>
                <a:gd name="T88" fmla="*/ 1531 w 4091"/>
                <a:gd name="T89" fmla="*/ 1461 h 4140"/>
                <a:gd name="T90" fmla="*/ 1725 w 4091"/>
                <a:gd name="T91" fmla="*/ 1413 h 4140"/>
                <a:gd name="T92" fmla="*/ 1969 w 4091"/>
                <a:gd name="T93" fmla="*/ 1259 h 4140"/>
                <a:gd name="T94" fmla="*/ 2184 w 4091"/>
                <a:gd name="T95" fmla="*/ 1058 h 4140"/>
                <a:gd name="T96" fmla="*/ 1997 w 4091"/>
                <a:gd name="T97" fmla="*/ 793 h 4140"/>
                <a:gd name="T98" fmla="*/ 2066 w 4091"/>
                <a:gd name="T99" fmla="*/ 515 h 4140"/>
                <a:gd name="T100" fmla="*/ 2261 w 4091"/>
                <a:gd name="T101" fmla="*/ 327 h 4140"/>
                <a:gd name="T102" fmla="*/ 2553 w 4091"/>
                <a:gd name="T103" fmla="*/ 105 h 4140"/>
                <a:gd name="T104" fmla="*/ 2838 w 4091"/>
                <a:gd name="T105" fmla="*/ 112 h 4140"/>
                <a:gd name="T106" fmla="*/ 3220 w 4091"/>
                <a:gd name="T107" fmla="*/ 49 h 4140"/>
                <a:gd name="T108" fmla="*/ 3505 w 4091"/>
                <a:gd name="T109" fmla="*/ 300 h 4140"/>
                <a:gd name="T110" fmla="*/ 3214 w 4091"/>
                <a:gd name="T111" fmla="*/ 446 h 4140"/>
                <a:gd name="T112" fmla="*/ 3019 w 4091"/>
                <a:gd name="T113" fmla="*/ 668 h 4140"/>
                <a:gd name="T114" fmla="*/ 2824 w 4091"/>
                <a:gd name="T115" fmla="*/ 863 h 4140"/>
                <a:gd name="T116" fmla="*/ 3089 w 4091"/>
                <a:gd name="T117" fmla="*/ 1169 h 4140"/>
                <a:gd name="T118" fmla="*/ 2936 w 4091"/>
                <a:gd name="T119" fmla="*/ 1413 h 4140"/>
                <a:gd name="T120" fmla="*/ 3117 w 4091"/>
                <a:gd name="T121" fmla="*/ 1719 h 4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91" h="4140">
                  <a:moveTo>
                    <a:pt x="3179" y="1795"/>
                  </a:moveTo>
                  <a:lnTo>
                    <a:pt x="3186" y="1837"/>
                  </a:lnTo>
                  <a:lnTo>
                    <a:pt x="3179" y="1844"/>
                  </a:lnTo>
                  <a:lnTo>
                    <a:pt x="3200" y="1872"/>
                  </a:lnTo>
                  <a:lnTo>
                    <a:pt x="3207" y="1872"/>
                  </a:lnTo>
                  <a:lnTo>
                    <a:pt x="3214" y="1872"/>
                  </a:lnTo>
                  <a:lnTo>
                    <a:pt x="3214" y="1878"/>
                  </a:lnTo>
                  <a:lnTo>
                    <a:pt x="3234" y="1878"/>
                  </a:lnTo>
                  <a:lnTo>
                    <a:pt x="3262" y="1892"/>
                  </a:lnTo>
                  <a:lnTo>
                    <a:pt x="3262" y="1886"/>
                  </a:lnTo>
                  <a:lnTo>
                    <a:pt x="3269" y="1844"/>
                  </a:lnTo>
                  <a:lnTo>
                    <a:pt x="3296" y="1872"/>
                  </a:lnTo>
                  <a:lnTo>
                    <a:pt x="3310" y="1878"/>
                  </a:lnTo>
                  <a:lnTo>
                    <a:pt x="3317" y="1886"/>
                  </a:lnTo>
                  <a:lnTo>
                    <a:pt x="3338" y="1892"/>
                  </a:lnTo>
                  <a:lnTo>
                    <a:pt x="3345" y="1913"/>
                  </a:lnTo>
                  <a:lnTo>
                    <a:pt x="3345" y="1920"/>
                  </a:lnTo>
                  <a:lnTo>
                    <a:pt x="3366" y="1948"/>
                  </a:lnTo>
                  <a:lnTo>
                    <a:pt x="3401" y="1920"/>
                  </a:lnTo>
                  <a:lnTo>
                    <a:pt x="3415" y="1913"/>
                  </a:lnTo>
                  <a:lnTo>
                    <a:pt x="3450" y="1872"/>
                  </a:lnTo>
                  <a:lnTo>
                    <a:pt x="3477" y="1851"/>
                  </a:lnTo>
                  <a:lnTo>
                    <a:pt x="3498" y="1872"/>
                  </a:lnTo>
                  <a:lnTo>
                    <a:pt x="3561" y="1809"/>
                  </a:lnTo>
                  <a:lnTo>
                    <a:pt x="3589" y="1837"/>
                  </a:lnTo>
                  <a:lnTo>
                    <a:pt x="3596" y="1878"/>
                  </a:lnTo>
                  <a:lnTo>
                    <a:pt x="3623" y="1878"/>
                  </a:lnTo>
                  <a:lnTo>
                    <a:pt x="3630" y="1851"/>
                  </a:lnTo>
                  <a:lnTo>
                    <a:pt x="3658" y="1837"/>
                  </a:lnTo>
                  <a:lnTo>
                    <a:pt x="3693" y="1823"/>
                  </a:lnTo>
                  <a:lnTo>
                    <a:pt x="3721" y="1823"/>
                  </a:lnTo>
                  <a:lnTo>
                    <a:pt x="3721" y="1837"/>
                  </a:lnTo>
                  <a:lnTo>
                    <a:pt x="3700" y="1858"/>
                  </a:lnTo>
                  <a:lnTo>
                    <a:pt x="3728" y="1872"/>
                  </a:lnTo>
                  <a:lnTo>
                    <a:pt x="3756" y="1878"/>
                  </a:lnTo>
                  <a:lnTo>
                    <a:pt x="3769" y="1872"/>
                  </a:lnTo>
                  <a:lnTo>
                    <a:pt x="3790" y="1858"/>
                  </a:lnTo>
                  <a:lnTo>
                    <a:pt x="3804" y="1892"/>
                  </a:lnTo>
                  <a:lnTo>
                    <a:pt x="3825" y="1886"/>
                  </a:lnTo>
                  <a:lnTo>
                    <a:pt x="3853" y="1878"/>
                  </a:lnTo>
                  <a:lnTo>
                    <a:pt x="3853" y="1837"/>
                  </a:lnTo>
                  <a:lnTo>
                    <a:pt x="3867" y="1844"/>
                  </a:lnTo>
                  <a:lnTo>
                    <a:pt x="3888" y="1858"/>
                  </a:lnTo>
                  <a:lnTo>
                    <a:pt x="3874" y="1878"/>
                  </a:lnTo>
                  <a:lnTo>
                    <a:pt x="3895" y="1872"/>
                  </a:lnTo>
                  <a:lnTo>
                    <a:pt x="3888" y="1878"/>
                  </a:lnTo>
                  <a:lnTo>
                    <a:pt x="3916" y="1906"/>
                  </a:lnTo>
                  <a:lnTo>
                    <a:pt x="3888" y="1906"/>
                  </a:lnTo>
                  <a:lnTo>
                    <a:pt x="3888" y="1934"/>
                  </a:lnTo>
                  <a:lnTo>
                    <a:pt x="3902" y="1934"/>
                  </a:lnTo>
                  <a:lnTo>
                    <a:pt x="3902" y="1941"/>
                  </a:lnTo>
                  <a:lnTo>
                    <a:pt x="3874" y="1955"/>
                  </a:lnTo>
                  <a:lnTo>
                    <a:pt x="3895" y="1976"/>
                  </a:lnTo>
                  <a:lnTo>
                    <a:pt x="3929" y="2018"/>
                  </a:lnTo>
                  <a:lnTo>
                    <a:pt x="3929" y="2025"/>
                  </a:lnTo>
                  <a:lnTo>
                    <a:pt x="3936" y="2053"/>
                  </a:lnTo>
                  <a:lnTo>
                    <a:pt x="3936" y="2080"/>
                  </a:lnTo>
                  <a:lnTo>
                    <a:pt x="3936" y="2101"/>
                  </a:lnTo>
                  <a:lnTo>
                    <a:pt x="3964" y="2080"/>
                  </a:lnTo>
                  <a:lnTo>
                    <a:pt x="3992" y="2143"/>
                  </a:lnTo>
                  <a:lnTo>
                    <a:pt x="3985" y="2150"/>
                  </a:lnTo>
                  <a:lnTo>
                    <a:pt x="4006" y="2171"/>
                  </a:lnTo>
                  <a:lnTo>
                    <a:pt x="3992" y="2178"/>
                  </a:lnTo>
                  <a:lnTo>
                    <a:pt x="4027" y="2212"/>
                  </a:lnTo>
                  <a:lnTo>
                    <a:pt x="4027" y="2247"/>
                  </a:lnTo>
                  <a:lnTo>
                    <a:pt x="4062" y="2240"/>
                  </a:lnTo>
                  <a:lnTo>
                    <a:pt x="4062" y="2254"/>
                  </a:lnTo>
                  <a:lnTo>
                    <a:pt x="4090" y="2275"/>
                  </a:lnTo>
                  <a:lnTo>
                    <a:pt x="4083" y="2296"/>
                  </a:lnTo>
                  <a:lnTo>
                    <a:pt x="3902" y="2310"/>
                  </a:lnTo>
                  <a:lnTo>
                    <a:pt x="3916" y="2296"/>
                  </a:lnTo>
                  <a:lnTo>
                    <a:pt x="3874" y="2268"/>
                  </a:lnTo>
                  <a:lnTo>
                    <a:pt x="3874" y="2310"/>
                  </a:lnTo>
                  <a:lnTo>
                    <a:pt x="3777" y="2331"/>
                  </a:lnTo>
                  <a:lnTo>
                    <a:pt x="3790" y="2310"/>
                  </a:lnTo>
                  <a:lnTo>
                    <a:pt x="3825" y="2296"/>
                  </a:lnTo>
                  <a:lnTo>
                    <a:pt x="3777" y="2233"/>
                  </a:lnTo>
                  <a:lnTo>
                    <a:pt x="3804" y="2212"/>
                  </a:lnTo>
                  <a:lnTo>
                    <a:pt x="3777" y="2199"/>
                  </a:lnTo>
                  <a:lnTo>
                    <a:pt x="3763" y="2171"/>
                  </a:lnTo>
                  <a:lnTo>
                    <a:pt x="3763" y="2150"/>
                  </a:lnTo>
                  <a:lnTo>
                    <a:pt x="3742" y="2164"/>
                  </a:lnTo>
                  <a:lnTo>
                    <a:pt x="3735" y="2164"/>
                  </a:lnTo>
                  <a:lnTo>
                    <a:pt x="3721" y="2171"/>
                  </a:lnTo>
                  <a:lnTo>
                    <a:pt x="3721" y="2199"/>
                  </a:lnTo>
                  <a:lnTo>
                    <a:pt x="3769" y="2240"/>
                  </a:lnTo>
                  <a:lnTo>
                    <a:pt x="3769" y="2254"/>
                  </a:lnTo>
                  <a:lnTo>
                    <a:pt x="3777" y="2275"/>
                  </a:lnTo>
                  <a:lnTo>
                    <a:pt x="3742" y="2310"/>
                  </a:lnTo>
                  <a:lnTo>
                    <a:pt x="3763" y="2338"/>
                  </a:lnTo>
                  <a:lnTo>
                    <a:pt x="3721" y="2379"/>
                  </a:lnTo>
                  <a:lnTo>
                    <a:pt x="3568" y="2463"/>
                  </a:lnTo>
                  <a:lnTo>
                    <a:pt x="3491" y="2505"/>
                  </a:lnTo>
                  <a:lnTo>
                    <a:pt x="3526" y="2498"/>
                  </a:lnTo>
                  <a:lnTo>
                    <a:pt x="3477" y="2512"/>
                  </a:lnTo>
                  <a:lnTo>
                    <a:pt x="3234" y="2623"/>
                  </a:lnTo>
                  <a:lnTo>
                    <a:pt x="3234" y="2630"/>
                  </a:lnTo>
                  <a:lnTo>
                    <a:pt x="3130" y="2678"/>
                  </a:lnTo>
                  <a:lnTo>
                    <a:pt x="3005" y="2713"/>
                  </a:lnTo>
                  <a:lnTo>
                    <a:pt x="2984" y="2741"/>
                  </a:lnTo>
                  <a:lnTo>
                    <a:pt x="2971" y="2713"/>
                  </a:lnTo>
                  <a:lnTo>
                    <a:pt x="2977" y="2693"/>
                  </a:lnTo>
                  <a:lnTo>
                    <a:pt x="3012" y="2644"/>
                  </a:lnTo>
                  <a:lnTo>
                    <a:pt x="3054" y="2637"/>
                  </a:lnTo>
                  <a:lnTo>
                    <a:pt x="3068" y="2623"/>
                  </a:lnTo>
                  <a:lnTo>
                    <a:pt x="3054" y="2602"/>
                  </a:lnTo>
                  <a:lnTo>
                    <a:pt x="3068" y="2602"/>
                  </a:lnTo>
                  <a:lnTo>
                    <a:pt x="3075" y="2581"/>
                  </a:lnTo>
                  <a:lnTo>
                    <a:pt x="3103" y="2595"/>
                  </a:lnTo>
                  <a:lnTo>
                    <a:pt x="3117" y="2595"/>
                  </a:lnTo>
                  <a:lnTo>
                    <a:pt x="3110" y="2602"/>
                  </a:lnTo>
                  <a:lnTo>
                    <a:pt x="3138" y="2595"/>
                  </a:lnTo>
                  <a:lnTo>
                    <a:pt x="3138" y="2581"/>
                  </a:lnTo>
                  <a:lnTo>
                    <a:pt x="3144" y="2574"/>
                  </a:lnTo>
                  <a:lnTo>
                    <a:pt x="3138" y="2560"/>
                  </a:lnTo>
                  <a:lnTo>
                    <a:pt x="3151" y="2560"/>
                  </a:lnTo>
                  <a:lnTo>
                    <a:pt x="3234" y="2505"/>
                  </a:lnTo>
                  <a:lnTo>
                    <a:pt x="3248" y="2484"/>
                  </a:lnTo>
                  <a:lnTo>
                    <a:pt x="3214" y="2470"/>
                  </a:lnTo>
                  <a:lnTo>
                    <a:pt x="3179" y="2428"/>
                  </a:lnTo>
                  <a:lnTo>
                    <a:pt x="3103" y="2435"/>
                  </a:lnTo>
                  <a:lnTo>
                    <a:pt x="3047" y="2449"/>
                  </a:lnTo>
                  <a:lnTo>
                    <a:pt x="3068" y="2470"/>
                  </a:lnTo>
                  <a:lnTo>
                    <a:pt x="3075" y="2477"/>
                  </a:lnTo>
                  <a:lnTo>
                    <a:pt x="3054" y="2477"/>
                  </a:lnTo>
                  <a:lnTo>
                    <a:pt x="3033" y="2505"/>
                  </a:lnTo>
                  <a:lnTo>
                    <a:pt x="3012" y="2526"/>
                  </a:lnTo>
                  <a:lnTo>
                    <a:pt x="2991" y="2532"/>
                  </a:lnTo>
                  <a:lnTo>
                    <a:pt x="3005" y="2539"/>
                  </a:lnTo>
                  <a:lnTo>
                    <a:pt x="3033" y="2567"/>
                  </a:lnTo>
                  <a:lnTo>
                    <a:pt x="3005" y="2567"/>
                  </a:lnTo>
                  <a:lnTo>
                    <a:pt x="2991" y="2595"/>
                  </a:lnTo>
                  <a:lnTo>
                    <a:pt x="2977" y="2595"/>
                  </a:lnTo>
                  <a:lnTo>
                    <a:pt x="3012" y="2630"/>
                  </a:lnTo>
                  <a:lnTo>
                    <a:pt x="3040" y="2609"/>
                  </a:lnTo>
                  <a:lnTo>
                    <a:pt x="3040" y="2630"/>
                  </a:lnTo>
                  <a:lnTo>
                    <a:pt x="3047" y="2623"/>
                  </a:lnTo>
                  <a:lnTo>
                    <a:pt x="3054" y="2602"/>
                  </a:lnTo>
                  <a:lnTo>
                    <a:pt x="3054" y="2623"/>
                  </a:lnTo>
                  <a:lnTo>
                    <a:pt x="3040" y="2637"/>
                  </a:lnTo>
                  <a:lnTo>
                    <a:pt x="3019" y="2637"/>
                  </a:lnTo>
                  <a:lnTo>
                    <a:pt x="2991" y="2644"/>
                  </a:lnTo>
                  <a:lnTo>
                    <a:pt x="2984" y="2609"/>
                  </a:lnTo>
                  <a:lnTo>
                    <a:pt x="2950" y="2623"/>
                  </a:lnTo>
                  <a:lnTo>
                    <a:pt x="2936" y="2623"/>
                  </a:lnTo>
                  <a:lnTo>
                    <a:pt x="2922" y="2609"/>
                  </a:lnTo>
                  <a:lnTo>
                    <a:pt x="2894" y="2602"/>
                  </a:lnTo>
                  <a:lnTo>
                    <a:pt x="2908" y="2595"/>
                  </a:lnTo>
                  <a:lnTo>
                    <a:pt x="2922" y="2602"/>
                  </a:lnTo>
                  <a:lnTo>
                    <a:pt x="2880" y="2567"/>
                  </a:lnTo>
                  <a:lnTo>
                    <a:pt x="2873" y="2574"/>
                  </a:lnTo>
                  <a:lnTo>
                    <a:pt x="2873" y="2560"/>
                  </a:lnTo>
                  <a:lnTo>
                    <a:pt x="2838" y="2609"/>
                  </a:lnTo>
                  <a:lnTo>
                    <a:pt x="2790" y="2630"/>
                  </a:lnTo>
                  <a:lnTo>
                    <a:pt x="2762" y="2644"/>
                  </a:lnTo>
                  <a:lnTo>
                    <a:pt x="2748" y="2637"/>
                  </a:lnTo>
                  <a:lnTo>
                    <a:pt x="2741" y="2644"/>
                  </a:lnTo>
                  <a:lnTo>
                    <a:pt x="2741" y="2665"/>
                  </a:lnTo>
                  <a:lnTo>
                    <a:pt x="2804" y="2699"/>
                  </a:lnTo>
                  <a:lnTo>
                    <a:pt x="2817" y="2699"/>
                  </a:lnTo>
                  <a:lnTo>
                    <a:pt x="2838" y="2713"/>
                  </a:lnTo>
                  <a:lnTo>
                    <a:pt x="2859" y="2713"/>
                  </a:lnTo>
                  <a:lnTo>
                    <a:pt x="2873" y="2713"/>
                  </a:lnTo>
                  <a:lnTo>
                    <a:pt x="2852" y="2734"/>
                  </a:lnTo>
                  <a:lnTo>
                    <a:pt x="2873" y="2734"/>
                  </a:lnTo>
                  <a:lnTo>
                    <a:pt x="2873" y="2755"/>
                  </a:lnTo>
                  <a:lnTo>
                    <a:pt x="2859" y="2741"/>
                  </a:lnTo>
                  <a:lnTo>
                    <a:pt x="2838" y="2734"/>
                  </a:lnTo>
                  <a:lnTo>
                    <a:pt x="2824" y="2734"/>
                  </a:lnTo>
                  <a:lnTo>
                    <a:pt x="2824" y="2741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76" y="2734"/>
                  </a:lnTo>
                  <a:lnTo>
                    <a:pt x="2783" y="2713"/>
                  </a:lnTo>
                  <a:lnTo>
                    <a:pt x="2776" y="2727"/>
                  </a:lnTo>
                  <a:lnTo>
                    <a:pt x="2776" y="2706"/>
                  </a:lnTo>
                  <a:lnTo>
                    <a:pt x="2790" y="2713"/>
                  </a:lnTo>
                  <a:lnTo>
                    <a:pt x="2727" y="2665"/>
                  </a:lnTo>
                  <a:lnTo>
                    <a:pt x="2720" y="2665"/>
                  </a:lnTo>
                  <a:lnTo>
                    <a:pt x="2727" y="2672"/>
                  </a:lnTo>
                  <a:lnTo>
                    <a:pt x="2727" y="2699"/>
                  </a:lnTo>
                  <a:lnTo>
                    <a:pt x="2692" y="2699"/>
                  </a:lnTo>
                  <a:lnTo>
                    <a:pt x="2706" y="2769"/>
                  </a:lnTo>
                  <a:lnTo>
                    <a:pt x="2685" y="2811"/>
                  </a:lnTo>
                  <a:lnTo>
                    <a:pt x="2713" y="2811"/>
                  </a:lnTo>
                  <a:lnTo>
                    <a:pt x="2713" y="2894"/>
                  </a:lnTo>
                  <a:lnTo>
                    <a:pt x="2692" y="2929"/>
                  </a:lnTo>
                  <a:lnTo>
                    <a:pt x="2644" y="3006"/>
                  </a:lnTo>
                  <a:lnTo>
                    <a:pt x="2630" y="3026"/>
                  </a:lnTo>
                  <a:lnTo>
                    <a:pt x="2623" y="3033"/>
                  </a:lnTo>
                  <a:lnTo>
                    <a:pt x="2616" y="3040"/>
                  </a:lnTo>
                  <a:lnTo>
                    <a:pt x="2630" y="3061"/>
                  </a:lnTo>
                  <a:lnTo>
                    <a:pt x="2650" y="3061"/>
                  </a:lnTo>
                  <a:lnTo>
                    <a:pt x="2623" y="3103"/>
                  </a:lnTo>
                  <a:lnTo>
                    <a:pt x="2630" y="3096"/>
                  </a:lnTo>
                  <a:lnTo>
                    <a:pt x="2630" y="3124"/>
                  </a:lnTo>
                  <a:lnTo>
                    <a:pt x="2650" y="3124"/>
                  </a:lnTo>
                  <a:lnTo>
                    <a:pt x="2657" y="3158"/>
                  </a:lnTo>
                  <a:lnTo>
                    <a:pt x="2623" y="3158"/>
                  </a:lnTo>
                  <a:lnTo>
                    <a:pt x="2623" y="3186"/>
                  </a:lnTo>
                  <a:lnTo>
                    <a:pt x="2650" y="3193"/>
                  </a:lnTo>
                  <a:lnTo>
                    <a:pt x="2644" y="3221"/>
                  </a:lnTo>
                  <a:lnTo>
                    <a:pt x="2657" y="3228"/>
                  </a:lnTo>
                  <a:lnTo>
                    <a:pt x="2657" y="3263"/>
                  </a:lnTo>
                  <a:lnTo>
                    <a:pt x="2713" y="3270"/>
                  </a:lnTo>
                  <a:lnTo>
                    <a:pt x="2720" y="3263"/>
                  </a:lnTo>
                  <a:lnTo>
                    <a:pt x="2706" y="3221"/>
                  </a:lnTo>
                  <a:lnTo>
                    <a:pt x="2720" y="3228"/>
                  </a:lnTo>
                  <a:lnTo>
                    <a:pt x="2727" y="3186"/>
                  </a:lnTo>
                  <a:lnTo>
                    <a:pt x="2748" y="3193"/>
                  </a:lnTo>
                  <a:lnTo>
                    <a:pt x="2741" y="3235"/>
                  </a:lnTo>
                  <a:lnTo>
                    <a:pt x="2748" y="3172"/>
                  </a:lnTo>
                  <a:lnTo>
                    <a:pt x="2790" y="3186"/>
                  </a:lnTo>
                  <a:lnTo>
                    <a:pt x="2762" y="3186"/>
                  </a:lnTo>
                  <a:lnTo>
                    <a:pt x="2783" y="3284"/>
                  </a:lnTo>
                  <a:lnTo>
                    <a:pt x="2824" y="3318"/>
                  </a:lnTo>
                  <a:lnTo>
                    <a:pt x="2811" y="3423"/>
                  </a:lnTo>
                  <a:lnTo>
                    <a:pt x="2817" y="3485"/>
                  </a:lnTo>
                  <a:lnTo>
                    <a:pt x="2873" y="3541"/>
                  </a:lnTo>
                  <a:lnTo>
                    <a:pt x="2950" y="3590"/>
                  </a:lnTo>
                  <a:lnTo>
                    <a:pt x="2971" y="3611"/>
                  </a:lnTo>
                  <a:lnTo>
                    <a:pt x="2957" y="3611"/>
                  </a:lnTo>
                  <a:lnTo>
                    <a:pt x="2991" y="3645"/>
                  </a:lnTo>
                  <a:lnTo>
                    <a:pt x="2991" y="3631"/>
                  </a:lnTo>
                  <a:lnTo>
                    <a:pt x="2984" y="3611"/>
                  </a:lnTo>
                  <a:lnTo>
                    <a:pt x="3068" y="3722"/>
                  </a:lnTo>
                  <a:lnTo>
                    <a:pt x="3075" y="3708"/>
                  </a:lnTo>
                  <a:lnTo>
                    <a:pt x="3054" y="3694"/>
                  </a:lnTo>
                  <a:lnTo>
                    <a:pt x="3130" y="3708"/>
                  </a:lnTo>
                  <a:lnTo>
                    <a:pt x="3138" y="3722"/>
                  </a:lnTo>
                  <a:lnTo>
                    <a:pt x="3165" y="3750"/>
                  </a:lnTo>
                  <a:lnTo>
                    <a:pt x="3165" y="3778"/>
                  </a:lnTo>
                  <a:lnTo>
                    <a:pt x="3138" y="3792"/>
                  </a:lnTo>
                  <a:lnTo>
                    <a:pt x="3138" y="3812"/>
                  </a:lnTo>
                  <a:lnTo>
                    <a:pt x="3144" y="3812"/>
                  </a:lnTo>
                  <a:lnTo>
                    <a:pt x="3103" y="3875"/>
                  </a:lnTo>
                  <a:lnTo>
                    <a:pt x="3103" y="3854"/>
                  </a:lnTo>
                  <a:lnTo>
                    <a:pt x="3089" y="3826"/>
                  </a:lnTo>
                  <a:lnTo>
                    <a:pt x="3089" y="3882"/>
                  </a:lnTo>
                  <a:lnTo>
                    <a:pt x="3089" y="3861"/>
                  </a:lnTo>
                  <a:lnTo>
                    <a:pt x="3103" y="3903"/>
                  </a:lnTo>
                  <a:lnTo>
                    <a:pt x="3089" y="3903"/>
                  </a:lnTo>
                  <a:lnTo>
                    <a:pt x="3103" y="3917"/>
                  </a:lnTo>
                  <a:lnTo>
                    <a:pt x="3054" y="3993"/>
                  </a:lnTo>
                  <a:lnTo>
                    <a:pt x="3054" y="4007"/>
                  </a:lnTo>
                  <a:lnTo>
                    <a:pt x="3068" y="4007"/>
                  </a:lnTo>
                  <a:lnTo>
                    <a:pt x="3012" y="4070"/>
                  </a:lnTo>
                  <a:lnTo>
                    <a:pt x="2991" y="4035"/>
                  </a:lnTo>
                  <a:lnTo>
                    <a:pt x="2977" y="4014"/>
                  </a:lnTo>
                  <a:lnTo>
                    <a:pt x="3005" y="3952"/>
                  </a:lnTo>
                  <a:lnTo>
                    <a:pt x="2991" y="3910"/>
                  </a:lnTo>
                  <a:lnTo>
                    <a:pt x="2957" y="3910"/>
                  </a:lnTo>
                  <a:lnTo>
                    <a:pt x="2950" y="3917"/>
                  </a:lnTo>
                  <a:lnTo>
                    <a:pt x="2915" y="3979"/>
                  </a:lnTo>
                  <a:lnTo>
                    <a:pt x="2936" y="3993"/>
                  </a:lnTo>
                  <a:lnTo>
                    <a:pt x="2936" y="3986"/>
                  </a:lnTo>
                  <a:lnTo>
                    <a:pt x="2971" y="4035"/>
                  </a:lnTo>
                  <a:lnTo>
                    <a:pt x="2922" y="4042"/>
                  </a:lnTo>
                  <a:lnTo>
                    <a:pt x="2936" y="4070"/>
                  </a:lnTo>
                  <a:lnTo>
                    <a:pt x="2957" y="4070"/>
                  </a:lnTo>
                  <a:lnTo>
                    <a:pt x="2977" y="4084"/>
                  </a:lnTo>
                  <a:lnTo>
                    <a:pt x="2957" y="4112"/>
                  </a:lnTo>
                  <a:lnTo>
                    <a:pt x="2950" y="4119"/>
                  </a:lnTo>
                  <a:lnTo>
                    <a:pt x="2922" y="4139"/>
                  </a:lnTo>
                  <a:lnTo>
                    <a:pt x="2845" y="4070"/>
                  </a:lnTo>
                  <a:lnTo>
                    <a:pt x="2838" y="4007"/>
                  </a:lnTo>
                  <a:lnTo>
                    <a:pt x="2762" y="3993"/>
                  </a:lnTo>
                  <a:lnTo>
                    <a:pt x="2741" y="3958"/>
                  </a:lnTo>
                  <a:lnTo>
                    <a:pt x="2748" y="3917"/>
                  </a:lnTo>
                  <a:lnTo>
                    <a:pt x="2741" y="3882"/>
                  </a:lnTo>
                  <a:lnTo>
                    <a:pt x="2755" y="3840"/>
                  </a:lnTo>
                  <a:lnTo>
                    <a:pt x="2727" y="3806"/>
                  </a:lnTo>
                  <a:lnTo>
                    <a:pt x="2706" y="3819"/>
                  </a:lnTo>
                  <a:lnTo>
                    <a:pt x="2706" y="3806"/>
                  </a:lnTo>
                  <a:lnTo>
                    <a:pt x="2692" y="3812"/>
                  </a:lnTo>
                  <a:lnTo>
                    <a:pt x="2678" y="3819"/>
                  </a:lnTo>
                  <a:lnTo>
                    <a:pt x="2650" y="3847"/>
                  </a:lnTo>
                  <a:lnTo>
                    <a:pt x="2588" y="3847"/>
                  </a:lnTo>
                  <a:lnTo>
                    <a:pt x="2553" y="3812"/>
                  </a:lnTo>
                  <a:lnTo>
                    <a:pt x="2532" y="3826"/>
                  </a:lnTo>
                  <a:lnTo>
                    <a:pt x="2511" y="3840"/>
                  </a:lnTo>
                  <a:lnTo>
                    <a:pt x="2463" y="3806"/>
                  </a:lnTo>
                  <a:lnTo>
                    <a:pt x="2463" y="3778"/>
                  </a:lnTo>
                  <a:lnTo>
                    <a:pt x="2435" y="3771"/>
                  </a:lnTo>
                  <a:lnTo>
                    <a:pt x="2435" y="3743"/>
                  </a:lnTo>
                  <a:lnTo>
                    <a:pt x="2414" y="3750"/>
                  </a:lnTo>
                  <a:lnTo>
                    <a:pt x="2400" y="3743"/>
                  </a:lnTo>
                  <a:lnTo>
                    <a:pt x="2379" y="3750"/>
                  </a:lnTo>
                  <a:lnTo>
                    <a:pt x="2358" y="3729"/>
                  </a:lnTo>
                  <a:lnTo>
                    <a:pt x="2296" y="3729"/>
                  </a:lnTo>
                  <a:lnTo>
                    <a:pt x="2254" y="3715"/>
                  </a:lnTo>
                  <a:lnTo>
                    <a:pt x="2219" y="3708"/>
                  </a:lnTo>
                  <a:lnTo>
                    <a:pt x="2156" y="3729"/>
                  </a:lnTo>
                  <a:lnTo>
                    <a:pt x="2024" y="3743"/>
                  </a:lnTo>
                  <a:lnTo>
                    <a:pt x="2004" y="3743"/>
                  </a:lnTo>
                  <a:lnTo>
                    <a:pt x="1941" y="3729"/>
                  </a:lnTo>
                  <a:lnTo>
                    <a:pt x="1899" y="3771"/>
                  </a:lnTo>
                  <a:lnTo>
                    <a:pt x="1857" y="3778"/>
                  </a:lnTo>
                  <a:lnTo>
                    <a:pt x="1843" y="3792"/>
                  </a:lnTo>
                  <a:lnTo>
                    <a:pt x="1843" y="3826"/>
                  </a:lnTo>
                  <a:lnTo>
                    <a:pt x="1823" y="3840"/>
                  </a:lnTo>
                  <a:lnTo>
                    <a:pt x="1704" y="3882"/>
                  </a:lnTo>
                  <a:lnTo>
                    <a:pt x="1663" y="3917"/>
                  </a:lnTo>
                  <a:lnTo>
                    <a:pt x="1600" y="3917"/>
                  </a:lnTo>
                  <a:lnTo>
                    <a:pt x="1593" y="3875"/>
                  </a:lnTo>
                  <a:lnTo>
                    <a:pt x="1531" y="3840"/>
                  </a:lnTo>
                  <a:lnTo>
                    <a:pt x="1496" y="3819"/>
                  </a:lnTo>
                  <a:lnTo>
                    <a:pt x="1398" y="3819"/>
                  </a:lnTo>
                  <a:lnTo>
                    <a:pt x="1384" y="3819"/>
                  </a:lnTo>
                  <a:lnTo>
                    <a:pt x="1329" y="3840"/>
                  </a:lnTo>
                  <a:lnTo>
                    <a:pt x="1329" y="3792"/>
                  </a:lnTo>
                  <a:lnTo>
                    <a:pt x="1336" y="3778"/>
                  </a:lnTo>
                  <a:lnTo>
                    <a:pt x="1308" y="3750"/>
                  </a:lnTo>
                  <a:lnTo>
                    <a:pt x="1266" y="3743"/>
                  </a:lnTo>
                  <a:lnTo>
                    <a:pt x="1169" y="3687"/>
                  </a:lnTo>
                  <a:lnTo>
                    <a:pt x="1120" y="3652"/>
                  </a:lnTo>
                  <a:lnTo>
                    <a:pt x="1092" y="3652"/>
                  </a:lnTo>
                  <a:lnTo>
                    <a:pt x="1057" y="3618"/>
                  </a:lnTo>
                  <a:lnTo>
                    <a:pt x="1071" y="3590"/>
                  </a:lnTo>
                  <a:lnTo>
                    <a:pt x="1071" y="3562"/>
                  </a:lnTo>
                  <a:lnTo>
                    <a:pt x="1037" y="3583"/>
                  </a:lnTo>
                  <a:lnTo>
                    <a:pt x="1009" y="3583"/>
                  </a:lnTo>
                  <a:lnTo>
                    <a:pt x="1002" y="3576"/>
                  </a:lnTo>
                  <a:lnTo>
                    <a:pt x="960" y="3555"/>
                  </a:lnTo>
                  <a:lnTo>
                    <a:pt x="918" y="3555"/>
                  </a:lnTo>
                  <a:lnTo>
                    <a:pt x="911" y="3548"/>
                  </a:lnTo>
                  <a:lnTo>
                    <a:pt x="925" y="3499"/>
                  </a:lnTo>
                  <a:lnTo>
                    <a:pt x="918" y="3479"/>
                  </a:lnTo>
                  <a:lnTo>
                    <a:pt x="960" y="3444"/>
                  </a:lnTo>
                  <a:lnTo>
                    <a:pt x="953" y="3444"/>
                  </a:lnTo>
                  <a:lnTo>
                    <a:pt x="863" y="3402"/>
                  </a:lnTo>
                  <a:lnTo>
                    <a:pt x="856" y="3416"/>
                  </a:lnTo>
                  <a:lnTo>
                    <a:pt x="842" y="3458"/>
                  </a:lnTo>
                  <a:lnTo>
                    <a:pt x="793" y="3430"/>
                  </a:lnTo>
                  <a:lnTo>
                    <a:pt x="786" y="3479"/>
                  </a:lnTo>
                  <a:lnTo>
                    <a:pt x="751" y="3465"/>
                  </a:lnTo>
                  <a:lnTo>
                    <a:pt x="710" y="3444"/>
                  </a:lnTo>
                  <a:lnTo>
                    <a:pt x="682" y="3416"/>
                  </a:lnTo>
                  <a:lnTo>
                    <a:pt x="696" y="3388"/>
                  </a:lnTo>
                  <a:lnTo>
                    <a:pt x="710" y="3353"/>
                  </a:lnTo>
                  <a:lnTo>
                    <a:pt x="689" y="3353"/>
                  </a:lnTo>
                  <a:lnTo>
                    <a:pt x="682" y="3346"/>
                  </a:lnTo>
                  <a:lnTo>
                    <a:pt x="647" y="3353"/>
                  </a:lnTo>
                  <a:lnTo>
                    <a:pt x="619" y="3346"/>
                  </a:lnTo>
                  <a:lnTo>
                    <a:pt x="626" y="3270"/>
                  </a:lnTo>
                  <a:lnTo>
                    <a:pt x="591" y="3249"/>
                  </a:lnTo>
                  <a:lnTo>
                    <a:pt x="543" y="3228"/>
                  </a:lnTo>
                  <a:lnTo>
                    <a:pt x="522" y="3214"/>
                  </a:lnTo>
                  <a:lnTo>
                    <a:pt x="522" y="3172"/>
                  </a:lnTo>
                  <a:lnTo>
                    <a:pt x="466" y="3166"/>
                  </a:lnTo>
                  <a:lnTo>
                    <a:pt x="459" y="3138"/>
                  </a:lnTo>
                  <a:lnTo>
                    <a:pt x="445" y="3138"/>
                  </a:lnTo>
                  <a:lnTo>
                    <a:pt x="424" y="3138"/>
                  </a:lnTo>
                  <a:lnTo>
                    <a:pt x="369" y="3124"/>
                  </a:lnTo>
                  <a:lnTo>
                    <a:pt x="362" y="3089"/>
                  </a:lnTo>
                  <a:lnTo>
                    <a:pt x="355" y="3082"/>
                  </a:lnTo>
                  <a:lnTo>
                    <a:pt x="264" y="2991"/>
                  </a:lnTo>
                  <a:lnTo>
                    <a:pt x="216" y="3040"/>
                  </a:lnTo>
                  <a:lnTo>
                    <a:pt x="195" y="3054"/>
                  </a:lnTo>
                  <a:lnTo>
                    <a:pt x="174" y="3040"/>
                  </a:lnTo>
                  <a:lnTo>
                    <a:pt x="188" y="2991"/>
                  </a:lnTo>
                  <a:lnTo>
                    <a:pt x="139" y="2991"/>
                  </a:lnTo>
                  <a:lnTo>
                    <a:pt x="153" y="2943"/>
                  </a:lnTo>
                  <a:lnTo>
                    <a:pt x="104" y="2936"/>
                  </a:lnTo>
                  <a:lnTo>
                    <a:pt x="104" y="2908"/>
                  </a:lnTo>
                  <a:lnTo>
                    <a:pt x="153" y="2873"/>
                  </a:lnTo>
                  <a:lnTo>
                    <a:pt x="132" y="2852"/>
                  </a:lnTo>
                  <a:lnTo>
                    <a:pt x="167" y="2804"/>
                  </a:lnTo>
                  <a:lnTo>
                    <a:pt x="160" y="2804"/>
                  </a:lnTo>
                  <a:lnTo>
                    <a:pt x="153" y="2769"/>
                  </a:lnTo>
                  <a:lnTo>
                    <a:pt x="77" y="2755"/>
                  </a:lnTo>
                  <a:lnTo>
                    <a:pt x="63" y="2769"/>
                  </a:lnTo>
                  <a:lnTo>
                    <a:pt x="42" y="2769"/>
                  </a:lnTo>
                  <a:lnTo>
                    <a:pt x="56" y="2713"/>
                  </a:lnTo>
                  <a:lnTo>
                    <a:pt x="7" y="2727"/>
                  </a:lnTo>
                  <a:lnTo>
                    <a:pt x="0" y="2706"/>
                  </a:lnTo>
                  <a:lnTo>
                    <a:pt x="35" y="2706"/>
                  </a:lnTo>
                  <a:lnTo>
                    <a:pt x="35" y="2630"/>
                  </a:lnTo>
                  <a:lnTo>
                    <a:pt x="28" y="2560"/>
                  </a:lnTo>
                  <a:lnTo>
                    <a:pt x="28" y="2526"/>
                  </a:lnTo>
                  <a:lnTo>
                    <a:pt x="21" y="2449"/>
                  </a:lnTo>
                  <a:lnTo>
                    <a:pt x="21" y="2414"/>
                  </a:lnTo>
                  <a:lnTo>
                    <a:pt x="7" y="2351"/>
                  </a:lnTo>
                  <a:lnTo>
                    <a:pt x="118" y="2233"/>
                  </a:lnTo>
                  <a:lnTo>
                    <a:pt x="188" y="2136"/>
                  </a:lnTo>
                  <a:lnTo>
                    <a:pt x="236" y="2053"/>
                  </a:lnTo>
                  <a:lnTo>
                    <a:pt x="313" y="1948"/>
                  </a:lnTo>
                  <a:lnTo>
                    <a:pt x="369" y="1858"/>
                  </a:lnTo>
                  <a:lnTo>
                    <a:pt x="445" y="1906"/>
                  </a:lnTo>
                  <a:lnTo>
                    <a:pt x="431" y="1913"/>
                  </a:lnTo>
                  <a:lnTo>
                    <a:pt x="424" y="1941"/>
                  </a:lnTo>
                  <a:lnTo>
                    <a:pt x="445" y="1976"/>
                  </a:lnTo>
                  <a:lnTo>
                    <a:pt x="403" y="2025"/>
                  </a:lnTo>
                  <a:lnTo>
                    <a:pt x="369" y="2108"/>
                  </a:lnTo>
                  <a:lnTo>
                    <a:pt x="424" y="2108"/>
                  </a:lnTo>
                  <a:lnTo>
                    <a:pt x="501" y="2143"/>
                  </a:lnTo>
                  <a:lnTo>
                    <a:pt x="487" y="2171"/>
                  </a:lnTo>
                  <a:lnTo>
                    <a:pt x="529" y="2205"/>
                  </a:lnTo>
                  <a:lnTo>
                    <a:pt x="557" y="2178"/>
                  </a:lnTo>
                  <a:lnTo>
                    <a:pt x="563" y="2178"/>
                  </a:lnTo>
                  <a:lnTo>
                    <a:pt x="584" y="2150"/>
                  </a:lnTo>
                  <a:lnTo>
                    <a:pt x="578" y="2185"/>
                  </a:lnTo>
                  <a:lnTo>
                    <a:pt x="626" y="2143"/>
                  </a:lnTo>
                  <a:lnTo>
                    <a:pt x="626" y="2136"/>
                  </a:lnTo>
                  <a:lnTo>
                    <a:pt x="654" y="2108"/>
                  </a:lnTo>
                  <a:lnTo>
                    <a:pt x="654" y="2136"/>
                  </a:lnTo>
                  <a:lnTo>
                    <a:pt x="696" y="2136"/>
                  </a:lnTo>
                  <a:lnTo>
                    <a:pt x="724" y="2108"/>
                  </a:lnTo>
                  <a:lnTo>
                    <a:pt x="786" y="2164"/>
                  </a:lnTo>
                  <a:lnTo>
                    <a:pt x="807" y="2164"/>
                  </a:lnTo>
                  <a:lnTo>
                    <a:pt x="828" y="2164"/>
                  </a:lnTo>
                  <a:lnTo>
                    <a:pt x="856" y="2150"/>
                  </a:lnTo>
                  <a:lnTo>
                    <a:pt x="863" y="2115"/>
                  </a:lnTo>
                  <a:lnTo>
                    <a:pt x="911" y="2080"/>
                  </a:lnTo>
                  <a:lnTo>
                    <a:pt x="918" y="1983"/>
                  </a:lnTo>
                  <a:lnTo>
                    <a:pt x="918" y="1955"/>
                  </a:lnTo>
                  <a:lnTo>
                    <a:pt x="960" y="1969"/>
                  </a:lnTo>
                  <a:lnTo>
                    <a:pt x="953" y="1941"/>
                  </a:lnTo>
                  <a:lnTo>
                    <a:pt x="946" y="1892"/>
                  </a:lnTo>
                  <a:lnTo>
                    <a:pt x="953" y="1878"/>
                  </a:lnTo>
                  <a:lnTo>
                    <a:pt x="988" y="1858"/>
                  </a:lnTo>
                  <a:lnTo>
                    <a:pt x="988" y="1823"/>
                  </a:lnTo>
                  <a:lnTo>
                    <a:pt x="1023" y="1788"/>
                  </a:lnTo>
                  <a:lnTo>
                    <a:pt x="1023" y="1760"/>
                  </a:lnTo>
                  <a:lnTo>
                    <a:pt x="1016" y="1753"/>
                  </a:lnTo>
                  <a:lnTo>
                    <a:pt x="1043" y="1739"/>
                  </a:lnTo>
                  <a:lnTo>
                    <a:pt x="1043" y="1711"/>
                  </a:lnTo>
                  <a:lnTo>
                    <a:pt x="1057" y="1677"/>
                  </a:lnTo>
                  <a:lnTo>
                    <a:pt x="1051" y="1663"/>
                  </a:lnTo>
                  <a:lnTo>
                    <a:pt x="1071" y="1677"/>
                  </a:lnTo>
                  <a:lnTo>
                    <a:pt x="1120" y="1663"/>
                  </a:lnTo>
                  <a:lnTo>
                    <a:pt x="1120" y="1628"/>
                  </a:lnTo>
                  <a:lnTo>
                    <a:pt x="1134" y="1649"/>
                  </a:lnTo>
                  <a:lnTo>
                    <a:pt x="1141" y="1642"/>
                  </a:lnTo>
                  <a:lnTo>
                    <a:pt x="1169" y="1677"/>
                  </a:lnTo>
                  <a:lnTo>
                    <a:pt x="1190" y="1684"/>
                  </a:lnTo>
                  <a:lnTo>
                    <a:pt x="1203" y="1684"/>
                  </a:lnTo>
                  <a:lnTo>
                    <a:pt x="1203" y="1656"/>
                  </a:lnTo>
                  <a:lnTo>
                    <a:pt x="1218" y="1649"/>
                  </a:lnTo>
                  <a:lnTo>
                    <a:pt x="1218" y="1614"/>
                  </a:lnTo>
                  <a:lnTo>
                    <a:pt x="1266" y="1607"/>
                  </a:lnTo>
                  <a:lnTo>
                    <a:pt x="1266" y="1593"/>
                  </a:lnTo>
                  <a:lnTo>
                    <a:pt x="1245" y="1524"/>
                  </a:lnTo>
                  <a:lnTo>
                    <a:pt x="1370" y="1531"/>
                  </a:lnTo>
                  <a:lnTo>
                    <a:pt x="1412" y="1489"/>
                  </a:lnTo>
                  <a:lnTo>
                    <a:pt x="1440" y="1475"/>
                  </a:lnTo>
                  <a:lnTo>
                    <a:pt x="1468" y="1461"/>
                  </a:lnTo>
                  <a:lnTo>
                    <a:pt x="1531" y="1461"/>
                  </a:lnTo>
                  <a:lnTo>
                    <a:pt x="1579" y="1475"/>
                  </a:lnTo>
                  <a:lnTo>
                    <a:pt x="1593" y="1559"/>
                  </a:lnTo>
                  <a:lnTo>
                    <a:pt x="1663" y="1559"/>
                  </a:lnTo>
                  <a:lnTo>
                    <a:pt x="1663" y="1579"/>
                  </a:lnTo>
                  <a:lnTo>
                    <a:pt x="1760" y="1559"/>
                  </a:lnTo>
                  <a:lnTo>
                    <a:pt x="1746" y="1524"/>
                  </a:lnTo>
                  <a:lnTo>
                    <a:pt x="1760" y="1517"/>
                  </a:lnTo>
                  <a:lnTo>
                    <a:pt x="1732" y="1454"/>
                  </a:lnTo>
                  <a:lnTo>
                    <a:pt x="1746" y="1426"/>
                  </a:lnTo>
                  <a:lnTo>
                    <a:pt x="1725" y="1413"/>
                  </a:lnTo>
                  <a:lnTo>
                    <a:pt x="1767" y="1392"/>
                  </a:lnTo>
                  <a:lnTo>
                    <a:pt x="1795" y="1392"/>
                  </a:lnTo>
                  <a:lnTo>
                    <a:pt x="1774" y="1357"/>
                  </a:lnTo>
                  <a:lnTo>
                    <a:pt x="1746" y="1294"/>
                  </a:lnTo>
                  <a:lnTo>
                    <a:pt x="1774" y="1287"/>
                  </a:lnTo>
                  <a:lnTo>
                    <a:pt x="1843" y="1259"/>
                  </a:lnTo>
                  <a:lnTo>
                    <a:pt x="1864" y="1259"/>
                  </a:lnTo>
                  <a:lnTo>
                    <a:pt x="1885" y="1287"/>
                  </a:lnTo>
                  <a:lnTo>
                    <a:pt x="1899" y="1259"/>
                  </a:lnTo>
                  <a:lnTo>
                    <a:pt x="1969" y="1259"/>
                  </a:lnTo>
                  <a:lnTo>
                    <a:pt x="1990" y="1252"/>
                  </a:lnTo>
                  <a:lnTo>
                    <a:pt x="2017" y="1252"/>
                  </a:lnTo>
                  <a:lnTo>
                    <a:pt x="2094" y="1225"/>
                  </a:lnTo>
                  <a:lnTo>
                    <a:pt x="2122" y="1197"/>
                  </a:lnTo>
                  <a:lnTo>
                    <a:pt x="2115" y="1190"/>
                  </a:lnTo>
                  <a:lnTo>
                    <a:pt x="2136" y="1155"/>
                  </a:lnTo>
                  <a:lnTo>
                    <a:pt x="2156" y="1113"/>
                  </a:lnTo>
                  <a:lnTo>
                    <a:pt x="2191" y="1120"/>
                  </a:lnTo>
                  <a:lnTo>
                    <a:pt x="2205" y="1065"/>
                  </a:lnTo>
                  <a:lnTo>
                    <a:pt x="2184" y="1058"/>
                  </a:lnTo>
                  <a:lnTo>
                    <a:pt x="2129" y="1002"/>
                  </a:lnTo>
                  <a:lnTo>
                    <a:pt x="2156" y="939"/>
                  </a:lnTo>
                  <a:lnTo>
                    <a:pt x="2136" y="939"/>
                  </a:lnTo>
                  <a:lnTo>
                    <a:pt x="2101" y="939"/>
                  </a:lnTo>
                  <a:lnTo>
                    <a:pt x="2087" y="884"/>
                  </a:lnTo>
                  <a:lnTo>
                    <a:pt x="2052" y="898"/>
                  </a:lnTo>
                  <a:lnTo>
                    <a:pt x="2004" y="898"/>
                  </a:lnTo>
                  <a:lnTo>
                    <a:pt x="1997" y="870"/>
                  </a:lnTo>
                  <a:lnTo>
                    <a:pt x="2017" y="821"/>
                  </a:lnTo>
                  <a:lnTo>
                    <a:pt x="1997" y="793"/>
                  </a:lnTo>
                  <a:lnTo>
                    <a:pt x="1941" y="745"/>
                  </a:lnTo>
                  <a:lnTo>
                    <a:pt x="1899" y="703"/>
                  </a:lnTo>
                  <a:lnTo>
                    <a:pt x="1941" y="689"/>
                  </a:lnTo>
                  <a:lnTo>
                    <a:pt x="1969" y="668"/>
                  </a:lnTo>
                  <a:lnTo>
                    <a:pt x="1976" y="661"/>
                  </a:lnTo>
                  <a:lnTo>
                    <a:pt x="1997" y="675"/>
                  </a:lnTo>
                  <a:lnTo>
                    <a:pt x="2017" y="592"/>
                  </a:lnTo>
                  <a:lnTo>
                    <a:pt x="2004" y="578"/>
                  </a:lnTo>
                  <a:lnTo>
                    <a:pt x="2024" y="543"/>
                  </a:lnTo>
                  <a:lnTo>
                    <a:pt x="2066" y="515"/>
                  </a:lnTo>
                  <a:lnTo>
                    <a:pt x="2087" y="480"/>
                  </a:lnTo>
                  <a:lnTo>
                    <a:pt x="2031" y="459"/>
                  </a:lnTo>
                  <a:lnTo>
                    <a:pt x="1962" y="446"/>
                  </a:lnTo>
                  <a:lnTo>
                    <a:pt x="1969" y="397"/>
                  </a:lnTo>
                  <a:lnTo>
                    <a:pt x="1990" y="376"/>
                  </a:lnTo>
                  <a:lnTo>
                    <a:pt x="2136" y="327"/>
                  </a:lnTo>
                  <a:lnTo>
                    <a:pt x="2184" y="327"/>
                  </a:lnTo>
                  <a:lnTo>
                    <a:pt x="2205" y="300"/>
                  </a:lnTo>
                  <a:lnTo>
                    <a:pt x="2254" y="300"/>
                  </a:lnTo>
                  <a:lnTo>
                    <a:pt x="2261" y="327"/>
                  </a:lnTo>
                  <a:lnTo>
                    <a:pt x="2296" y="285"/>
                  </a:lnTo>
                  <a:lnTo>
                    <a:pt x="2351" y="181"/>
                  </a:lnTo>
                  <a:lnTo>
                    <a:pt x="2351" y="153"/>
                  </a:lnTo>
                  <a:lnTo>
                    <a:pt x="2379" y="105"/>
                  </a:lnTo>
                  <a:lnTo>
                    <a:pt x="2393" y="84"/>
                  </a:lnTo>
                  <a:lnTo>
                    <a:pt x="2386" y="42"/>
                  </a:lnTo>
                  <a:lnTo>
                    <a:pt x="2386" y="14"/>
                  </a:lnTo>
                  <a:lnTo>
                    <a:pt x="2498" y="98"/>
                  </a:lnTo>
                  <a:lnTo>
                    <a:pt x="2511" y="105"/>
                  </a:lnTo>
                  <a:lnTo>
                    <a:pt x="2553" y="105"/>
                  </a:lnTo>
                  <a:lnTo>
                    <a:pt x="2581" y="133"/>
                  </a:lnTo>
                  <a:lnTo>
                    <a:pt x="2595" y="153"/>
                  </a:lnTo>
                  <a:lnTo>
                    <a:pt x="2588" y="167"/>
                  </a:lnTo>
                  <a:lnTo>
                    <a:pt x="2588" y="195"/>
                  </a:lnTo>
                  <a:lnTo>
                    <a:pt x="2644" y="146"/>
                  </a:lnTo>
                  <a:lnTo>
                    <a:pt x="2664" y="139"/>
                  </a:lnTo>
                  <a:lnTo>
                    <a:pt x="2685" y="119"/>
                  </a:lnTo>
                  <a:lnTo>
                    <a:pt x="2762" y="133"/>
                  </a:lnTo>
                  <a:lnTo>
                    <a:pt x="2790" y="112"/>
                  </a:lnTo>
                  <a:lnTo>
                    <a:pt x="2838" y="112"/>
                  </a:lnTo>
                  <a:lnTo>
                    <a:pt x="2873" y="133"/>
                  </a:lnTo>
                  <a:lnTo>
                    <a:pt x="2915" y="112"/>
                  </a:lnTo>
                  <a:lnTo>
                    <a:pt x="2894" y="77"/>
                  </a:lnTo>
                  <a:lnTo>
                    <a:pt x="2950" y="70"/>
                  </a:lnTo>
                  <a:lnTo>
                    <a:pt x="3012" y="14"/>
                  </a:lnTo>
                  <a:lnTo>
                    <a:pt x="3068" y="0"/>
                  </a:lnTo>
                  <a:lnTo>
                    <a:pt x="3144" y="14"/>
                  </a:lnTo>
                  <a:lnTo>
                    <a:pt x="3172" y="42"/>
                  </a:lnTo>
                  <a:lnTo>
                    <a:pt x="3214" y="56"/>
                  </a:lnTo>
                  <a:lnTo>
                    <a:pt x="3220" y="49"/>
                  </a:lnTo>
                  <a:lnTo>
                    <a:pt x="3310" y="49"/>
                  </a:lnTo>
                  <a:lnTo>
                    <a:pt x="3345" y="56"/>
                  </a:lnTo>
                  <a:lnTo>
                    <a:pt x="3366" y="49"/>
                  </a:lnTo>
                  <a:lnTo>
                    <a:pt x="3450" y="70"/>
                  </a:lnTo>
                  <a:lnTo>
                    <a:pt x="3477" y="98"/>
                  </a:lnTo>
                  <a:lnTo>
                    <a:pt x="3470" y="112"/>
                  </a:lnTo>
                  <a:lnTo>
                    <a:pt x="3477" y="167"/>
                  </a:lnTo>
                  <a:lnTo>
                    <a:pt x="3498" y="202"/>
                  </a:lnTo>
                  <a:lnTo>
                    <a:pt x="3477" y="272"/>
                  </a:lnTo>
                  <a:lnTo>
                    <a:pt x="3505" y="300"/>
                  </a:lnTo>
                  <a:lnTo>
                    <a:pt x="3477" y="306"/>
                  </a:lnTo>
                  <a:lnTo>
                    <a:pt x="3450" y="300"/>
                  </a:lnTo>
                  <a:lnTo>
                    <a:pt x="3394" y="334"/>
                  </a:lnTo>
                  <a:lnTo>
                    <a:pt x="3310" y="369"/>
                  </a:lnTo>
                  <a:lnTo>
                    <a:pt x="3303" y="397"/>
                  </a:lnTo>
                  <a:lnTo>
                    <a:pt x="3345" y="432"/>
                  </a:lnTo>
                  <a:lnTo>
                    <a:pt x="3359" y="473"/>
                  </a:lnTo>
                  <a:lnTo>
                    <a:pt x="3296" y="446"/>
                  </a:lnTo>
                  <a:lnTo>
                    <a:pt x="3269" y="473"/>
                  </a:lnTo>
                  <a:lnTo>
                    <a:pt x="3214" y="446"/>
                  </a:lnTo>
                  <a:lnTo>
                    <a:pt x="3172" y="480"/>
                  </a:lnTo>
                  <a:lnTo>
                    <a:pt x="3151" y="473"/>
                  </a:lnTo>
                  <a:lnTo>
                    <a:pt x="3144" y="494"/>
                  </a:lnTo>
                  <a:lnTo>
                    <a:pt x="3130" y="508"/>
                  </a:lnTo>
                  <a:lnTo>
                    <a:pt x="3089" y="557"/>
                  </a:lnTo>
                  <a:lnTo>
                    <a:pt x="3089" y="578"/>
                  </a:lnTo>
                  <a:lnTo>
                    <a:pt x="3054" y="626"/>
                  </a:lnTo>
                  <a:lnTo>
                    <a:pt x="3033" y="633"/>
                  </a:lnTo>
                  <a:lnTo>
                    <a:pt x="3040" y="675"/>
                  </a:lnTo>
                  <a:lnTo>
                    <a:pt x="3019" y="668"/>
                  </a:lnTo>
                  <a:lnTo>
                    <a:pt x="3019" y="696"/>
                  </a:lnTo>
                  <a:lnTo>
                    <a:pt x="2957" y="710"/>
                  </a:lnTo>
                  <a:lnTo>
                    <a:pt x="2957" y="765"/>
                  </a:lnTo>
                  <a:lnTo>
                    <a:pt x="2943" y="765"/>
                  </a:lnTo>
                  <a:lnTo>
                    <a:pt x="2894" y="765"/>
                  </a:lnTo>
                  <a:lnTo>
                    <a:pt x="2887" y="773"/>
                  </a:lnTo>
                  <a:lnTo>
                    <a:pt x="2859" y="786"/>
                  </a:lnTo>
                  <a:lnTo>
                    <a:pt x="2852" y="842"/>
                  </a:lnTo>
                  <a:lnTo>
                    <a:pt x="2845" y="856"/>
                  </a:lnTo>
                  <a:lnTo>
                    <a:pt x="2824" y="863"/>
                  </a:lnTo>
                  <a:lnTo>
                    <a:pt x="2804" y="905"/>
                  </a:lnTo>
                  <a:lnTo>
                    <a:pt x="2838" y="967"/>
                  </a:lnTo>
                  <a:lnTo>
                    <a:pt x="2887" y="1002"/>
                  </a:lnTo>
                  <a:lnTo>
                    <a:pt x="2915" y="995"/>
                  </a:lnTo>
                  <a:lnTo>
                    <a:pt x="2936" y="995"/>
                  </a:lnTo>
                  <a:lnTo>
                    <a:pt x="2943" y="995"/>
                  </a:lnTo>
                  <a:lnTo>
                    <a:pt x="2936" y="1030"/>
                  </a:lnTo>
                  <a:lnTo>
                    <a:pt x="3012" y="1037"/>
                  </a:lnTo>
                  <a:lnTo>
                    <a:pt x="3019" y="1113"/>
                  </a:lnTo>
                  <a:lnTo>
                    <a:pt x="3089" y="1169"/>
                  </a:lnTo>
                  <a:lnTo>
                    <a:pt x="3089" y="1197"/>
                  </a:lnTo>
                  <a:lnTo>
                    <a:pt x="3089" y="1204"/>
                  </a:lnTo>
                  <a:lnTo>
                    <a:pt x="3082" y="1246"/>
                  </a:lnTo>
                  <a:lnTo>
                    <a:pt x="3075" y="1252"/>
                  </a:lnTo>
                  <a:lnTo>
                    <a:pt x="3019" y="1294"/>
                  </a:lnTo>
                  <a:lnTo>
                    <a:pt x="3012" y="1301"/>
                  </a:lnTo>
                  <a:lnTo>
                    <a:pt x="2950" y="1357"/>
                  </a:lnTo>
                  <a:lnTo>
                    <a:pt x="2950" y="1364"/>
                  </a:lnTo>
                  <a:lnTo>
                    <a:pt x="2936" y="1399"/>
                  </a:lnTo>
                  <a:lnTo>
                    <a:pt x="2936" y="1413"/>
                  </a:lnTo>
                  <a:lnTo>
                    <a:pt x="2957" y="1447"/>
                  </a:lnTo>
                  <a:lnTo>
                    <a:pt x="2977" y="1524"/>
                  </a:lnTo>
                  <a:lnTo>
                    <a:pt x="2977" y="1607"/>
                  </a:lnTo>
                  <a:lnTo>
                    <a:pt x="3033" y="1614"/>
                  </a:lnTo>
                  <a:lnTo>
                    <a:pt x="3040" y="1628"/>
                  </a:lnTo>
                  <a:lnTo>
                    <a:pt x="3075" y="1656"/>
                  </a:lnTo>
                  <a:lnTo>
                    <a:pt x="3110" y="1663"/>
                  </a:lnTo>
                  <a:lnTo>
                    <a:pt x="3130" y="1705"/>
                  </a:lnTo>
                  <a:lnTo>
                    <a:pt x="3138" y="1705"/>
                  </a:lnTo>
                  <a:lnTo>
                    <a:pt x="3117" y="1719"/>
                  </a:lnTo>
                  <a:lnTo>
                    <a:pt x="3144" y="1746"/>
                  </a:lnTo>
                  <a:lnTo>
                    <a:pt x="3151" y="1788"/>
                  </a:lnTo>
                  <a:lnTo>
                    <a:pt x="3179" y="179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8" name="Freeform 107"/>
            <p:cNvSpPr>
              <a:spLocks noChangeArrowheads="1"/>
            </p:cNvSpPr>
            <p:nvPr/>
          </p:nvSpPr>
          <p:spPr bwMode="auto">
            <a:xfrm>
              <a:off x="16141347" y="2950251"/>
              <a:ext cx="1921989" cy="1944899"/>
            </a:xfrm>
            <a:custGeom>
              <a:avLst/>
              <a:gdLst>
                <a:gd name="T0" fmla="*/ 3262 w 4091"/>
                <a:gd name="T1" fmla="*/ 1886 h 4140"/>
                <a:gd name="T2" fmla="*/ 3415 w 4091"/>
                <a:gd name="T3" fmla="*/ 1913 h 4140"/>
                <a:gd name="T4" fmla="*/ 3693 w 4091"/>
                <a:gd name="T5" fmla="*/ 1823 h 4140"/>
                <a:gd name="T6" fmla="*/ 3853 w 4091"/>
                <a:gd name="T7" fmla="*/ 1878 h 4140"/>
                <a:gd name="T8" fmla="*/ 3902 w 4091"/>
                <a:gd name="T9" fmla="*/ 1934 h 4140"/>
                <a:gd name="T10" fmla="*/ 3992 w 4091"/>
                <a:gd name="T11" fmla="*/ 2143 h 4140"/>
                <a:gd name="T12" fmla="*/ 3902 w 4091"/>
                <a:gd name="T13" fmla="*/ 2310 h 4140"/>
                <a:gd name="T14" fmla="*/ 3763 w 4091"/>
                <a:gd name="T15" fmla="*/ 2171 h 4140"/>
                <a:gd name="T16" fmla="*/ 3763 w 4091"/>
                <a:gd name="T17" fmla="*/ 2338 h 4140"/>
                <a:gd name="T18" fmla="*/ 2984 w 4091"/>
                <a:gd name="T19" fmla="*/ 2741 h 4140"/>
                <a:gd name="T20" fmla="*/ 3117 w 4091"/>
                <a:gd name="T21" fmla="*/ 2595 h 4140"/>
                <a:gd name="T22" fmla="*/ 3179 w 4091"/>
                <a:gd name="T23" fmla="*/ 2428 h 4140"/>
                <a:gd name="T24" fmla="*/ 3033 w 4091"/>
                <a:gd name="T25" fmla="*/ 2567 h 4140"/>
                <a:gd name="T26" fmla="*/ 3040 w 4091"/>
                <a:gd name="T27" fmla="*/ 2637 h 4140"/>
                <a:gd name="T28" fmla="*/ 2880 w 4091"/>
                <a:gd name="T29" fmla="*/ 2567 h 4140"/>
                <a:gd name="T30" fmla="*/ 2817 w 4091"/>
                <a:gd name="T31" fmla="*/ 2699 h 4140"/>
                <a:gd name="T32" fmla="*/ 2824 w 4091"/>
                <a:gd name="T33" fmla="*/ 2741 h 4140"/>
                <a:gd name="T34" fmla="*/ 2727 w 4091"/>
                <a:gd name="T35" fmla="*/ 2665 h 4140"/>
                <a:gd name="T36" fmla="*/ 2644 w 4091"/>
                <a:gd name="T37" fmla="*/ 3006 h 4140"/>
                <a:gd name="T38" fmla="*/ 2657 w 4091"/>
                <a:gd name="T39" fmla="*/ 3158 h 4140"/>
                <a:gd name="T40" fmla="*/ 2720 w 4091"/>
                <a:gd name="T41" fmla="*/ 3228 h 4140"/>
                <a:gd name="T42" fmla="*/ 2817 w 4091"/>
                <a:gd name="T43" fmla="*/ 3485 h 4140"/>
                <a:gd name="T44" fmla="*/ 3054 w 4091"/>
                <a:gd name="T45" fmla="*/ 3694 h 4140"/>
                <a:gd name="T46" fmla="*/ 3089 w 4091"/>
                <a:gd name="T47" fmla="*/ 3826 h 4140"/>
                <a:gd name="T48" fmla="*/ 2991 w 4091"/>
                <a:gd name="T49" fmla="*/ 4035 h 4140"/>
                <a:gd name="T50" fmla="*/ 2922 w 4091"/>
                <a:gd name="T51" fmla="*/ 4042 h 4140"/>
                <a:gd name="T52" fmla="*/ 2741 w 4091"/>
                <a:gd name="T53" fmla="*/ 3958 h 4140"/>
                <a:gd name="T54" fmla="*/ 2588 w 4091"/>
                <a:gd name="T55" fmla="*/ 3847 h 4140"/>
                <a:gd name="T56" fmla="*/ 2379 w 4091"/>
                <a:gd name="T57" fmla="*/ 3750 h 4140"/>
                <a:gd name="T58" fmla="*/ 1857 w 4091"/>
                <a:gd name="T59" fmla="*/ 3778 h 4140"/>
                <a:gd name="T60" fmla="*/ 1398 w 4091"/>
                <a:gd name="T61" fmla="*/ 3819 h 4140"/>
                <a:gd name="T62" fmla="*/ 1057 w 4091"/>
                <a:gd name="T63" fmla="*/ 3618 h 4140"/>
                <a:gd name="T64" fmla="*/ 918 w 4091"/>
                <a:gd name="T65" fmla="*/ 3479 h 4140"/>
                <a:gd name="T66" fmla="*/ 682 w 4091"/>
                <a:gd name="T67" fmla="*/ 3416 h 4140"/>
                <a:gd name="T68" fmla="*/ 522 w 4091"/>
                <a:gd name="T69" fmla="*/ 3214 h 4140"/>
                <a:gd name="T70" fmla="*/ 216 w 4091"/>
                <a:gd name="T71" fmla="*/ 3040 h 4140"/>
                <a:gd name="T72" fmla="*/ 167 w 4091"/>
                <a:gd name="T73" fmla="*/ 2804 h 4140"/>
                <a:gd name="T74" fmla="*/ 35 w 4091"/>
                <a:gd name="T75" fmla="*/ 2630 h 4140"/>
                <a:gd name="T76" fmla="*/ 369 w 4091"/>
                <a:gd name="T77" fmla="*/ 1858 h 4140"/>
                <a:gd name="T78" fmla="*/ 529 w 4091"/>
                <a:gd name="T79" fmla="*/ 2205 h 4140"/>
                <a:gd name="T80" fmla="*/ 724 w 4091"/>
                <a:gd name="T81" fmla="*/ 2108 h 4140"/>
                <a:gd name="T82" fmla="*/ 953 w 4091"/>
                <a:gd name="T83" fmla="*/ 1941 h 4140"/>
                <a:gd name="T84" fmla="*/ 1057 w 4091"/>
                <a:gd name="T85" fmla="*/ 1677 h 4140"/>
                <a:gd name="T86" fmla="*/ 1203 w 4091"/>
                <a:gd name="T87" fmla="*/ 1656 h 4140"/>
                <a:gd name="T88" fmla="*/ 1531 w 4091"/>
                <a:gd name="T89" fmla="*/ 1461 h 4140"/>
                <a:gd name="T90" fmla="*/ 1725 w 4091"/>
                <a:gd name="T91" fmla="*/ 1413 h 4140"/>
                <a:gd name="T92" fmla="*/ 1969 w 4091"/>
                <a:gd name="T93" fmla="*/ 1259 h 4140"/>
                <a:gd name="T94" fmla="*/ 2184 w 4091"/>
                <a:gd name="T95" fmla="*/ 1058 h 4140"/>
                <a:gd name="T96" fmla="*/ 1997 w 4091"/>
                <a:gd name="T97" fmla="*/ 793 h 4140"/>
                <a:gd name="T98" fmla="*/ 2066 w 4091"/>
                <a:gd name="T99" fmla="*/ 515 h 4140"/>
                <a:gd name="T100" fmla="*/ 2261 w 4091"/>
                <a:gd name="T101" fmla="*/ 327 h 4140"/>
                <a:gd name="T102" fmla="*/ 2553 w 4091"/>
                <a:gd name="T103" fmla="*/ 105 h 4140"/>
                <a:gd name="T104" fmla="*/ 2838 w 4091"/>
                <a:gd name="T105" fmla="*/ 112 h 4140"/>
                <a:gd name="T106" fmla="*/ 3220 w 4091"/>
                <a:gd name="T107" fmla="*/ 49 h 4140"/>
                <a:gd name="T108" fmla="*/ 3505 w 4091"/>
                <a:gd name="T109" fmla="*/ 300 h 4140"/>
                <a:gd name="T110" fmla="*/ 3214 w 4091"/>
                <a:gd name="T111" fmla="*/ 446 h 4140"/>
                <a:gd name="T112" fmla="*/ 3019 w 4091"/>
                <a:gd name="T113" fmla="*/ 668 h 4140"/>
                <a:gd name="T114" fmla="*/ 2824 w 4091"/>
                <a:gd name="T115" fmla="*/ 863 h 4140"/>
                <a:gd name="T116" fmla="*/ 3089 w 4091"/>
                <a:gd name="T117" fmla="*/ 1169 h 4140"/>
                <a:gd name="T118" fmla="*/ 2936 w 4091"/>
                <a:gd name="T119" fmla="*/ 1413 h 4140"/>
                <a:gd name="T120" fmla="*/ 3117 w 4091"/>
                <a:gd name="T121" fmla="*/ 1719 h 4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91" h="4140">
                  <a:moveTo>
                    <a:pt x="3179" y="1795"/>
                  </a:moveTo>
                  <a:lnTo>
                    <a:pt x="3186" y="1837"/>
                  </a:lnTo>
                  <a:lnTo>
                    <a:pt x="3179" y="1844"/>
                  </a:lnTo>
                  <a:lnTo>
                    <a:pt x="3200" y="1872"/>
                  </a:lnTo>
                  <a:lnTo>
                    <a:pt x="3207" y="1872"/>
                  </a:lnTo>
                  <a:lnTo>
                    <a:pt x="3214" y="1872"/>
                  </a:lnTo>
                  <a:lnTo>
                    <a:pt x="3214" y="1878"/>
                  </a:lnTo>
                  <a:lnTo>
                    <a:pt x="3234" y="1878"/>
                  </a:lnTo>
                  <a:lnTo>
                    <a:pt x="3262" y="1892"/>
                  </a:lnTo>
                  <a:lnTo>
                    <a:pt x="3262" y="1886"/>
                  </a:lnTo>
                  <a:lnTo>
                    <a:pt x="3269" y="1844"/>
                  </a:lnTo>
                  <a:lnTo>
                    <a:pt x="3296" y="1872"/>
                  </a:lnTo>
                  <a:lnTo>
                    <a:pt x="3310" y="1878"/>
                  </a:lnTo>
                  <a:lnTo>
                    <a:pt x="3317" y="1886"/>
                  </a:lnTo>
                  <a:lnTo>
                    <a:pt x="3338" y="1892"/>
                  </a:lnTo>
                  <a:lnTo>
                    <a:pt x="3345" y="1913"/>
                  </a:lnTo>
                  <a:lnTo>
                    <a:pt x="3345" y="1920"/>
                  </a:lnTo>
                  <a:lnTo>
                    <a:pt x="3366" y="1948"/>
                  </a:lnTo>
                  <a:lnTo>
                    <a:pt x="3401" y="1920"/>
                  </a:lnTo>
                  <a:lnTo>
                    <a:pt x="3415" y="1913"/>
                  </a:lnTo>
                  <a:lnTo>
                    <a:pt x="3450" y="1872"/>
                  </a:lnTo>
                  <a:lnTo>
                    <a:pt x="3477" y="1851"/>
                  </a:lnTo>
                  <a:lnTo>
                    <a:pt x="3498" y="1872"/>
                  </a:lnTo>
                  <a:lnTo>
                    <a:pt x="3561" y="1809"/>
                  </a:lnTo>
                  <a:lnTo>
                    <a:pt x="3589" y="1837"/>
                  </a:lnTo>
                  <a:lnTo>
                    <a:pt x="3596" y="1878"/>
                  </a:lnTo>
                  <a:lnTo>
                    <a:pt x="3623" y="1878"/>
                  </a:lnTo>
                  <a:lnTo>
                    <a:pt x="3630" y="1851"/>
                  </a:lnTo>
                  <a:lnTo>
                    <a:pt x="3658" y="1837"/>
                  </a:lnTo>
                  <a:lnTo>
                    <a:pt x="3693" y="1823"/>
                  </a:lnTo>
                  <a:lnTo>
                    <a:pt x="3721" y="1823"/>
                  </a:lnTo>
                  <a:lnTo>
                    <a:pt x="3721" y="1837"/>
                  </a:lnTo>
                  <a:lnTo>
                    <a:pt x="3700" y="1858"/>
                  </a:lnTo>
                  <a:lnTo>
                    <a:pt x="3728" y="1872"/>
                  </a:lnTo>
                  <a:lnTo>
                    <a:pt x="3756" y="1878"/>
                  </a:lnTo>
                  <a:lnTo>
                    <a:pt x="3769" y="1872"/>
                  </a:lnTo>
                  <a:lnTo>
                    <a:pt x="3790" y="1858"/>
                  </a:lnTo>
                  <a:lnTo>
                    <a:pt x="3804" y="1892"/>
                  </a:lnTo>
                  <a:lnTo>
                    <a:pt x="3825" y="1886"/>
                  </a:lnTo>
                  <a:lnTo>
                    <a:pt x="3853" y="1878"/>
                  </a:lnTo>
                  <a:lnTo>
                    <a:pt x="3853" y="1837"/>
                  </a:lnTo>
                  <a:lnTo>
                    <a:pt x="3867" y="1844"/>
                  </a:lnTo>
                  <a:lnTo>
                    <a:pt x="3888" y="1858"/>
                  </a:lnTo>
                  <a:lnTo>
                    <a:pt x="3874" y="1878"/>
                  </a:lnTo>
                  <a:lnTo>
                    <a:pt x="3895" y="1872"/>
                  </a:lnTo>
                  <a:lnTo>
                    <a:pt x="3888" y="1878"/>
                  </a:lnTo>
                  <a:lnTo>
                    <a:pt x="3916" y="1906"/>
                  </a:lnTo>
                  <a:lnTo>
                    <a:pt x="3888" y="1906"/>
                  </a:lnTo>
                  <a:lnTo>
                    <a:pt x="3888" y="1934"/>
                  </a:lnTo>
                  <a:lnTo>
                    <a:pt x="3902" y="1934"/>
                  </a:lnTo>
                  <a:lnTo>
                    <a:pt x="3902" y="1941"/>
                  </a:lnTo>
                  <a:lnTo>
                    <a:pt x="3874" y="1955"/>
                  </a:lnTo>
                  <a:lnTo>
                    <a:pt x="3895" y="1976"/>
                  </a:lnTo>
                  <a:lnTo>
                    <a:pt x="3929" y="2018"/>
                  </a:lnTo>
                  <a:lnTo>
                    <a:pt x="3929" y="2025"/>
                  </a:lnTo>
                  <a:lnTo>
                    <a:pt x="3936" y="2053"/>
                  </a:lnTo>
                  <a:lnTo>
                    <a:pt x="3936" y="2080"/>
                  </a:lnTo>
                  <a:lnTo>
                    <a:pt x="3936" y="2101"/>
                  </a:lnTo>
                  <a:lnTo>
                    <a:pt x="3964" y="2080"/>
                  </a:lnTo>
                  <a:lnTo>
                    <a:pt x="3992" y="2143"/>
                  </a:lnTo>
                  <a:lnTo>
                    <a:pt x="3985" y="2150"/>
                  </a:lnTo>
                  <a:lnTo>
                    <a:pt x="4006" y="2171"/>
                  </a:lnTo>
                  <a:lnTo>
                    <a:pt x="3992" y="2178"/>
                  </a:lnTo>
                  <a:lnTo>
                    <a:pt x="4027" y="2212"/>
                  </a:lnTo>
                  <a:lnTo>
                    <a:pt x="4027" y="2247"/>
                  </a:lnTo>
                  <a:lnTo>
                    <a:pt x="4062" y="2240"/>
                  </a:lnTo>
                  <a:lnTo>
                    <a:pt x="4062" y="2254"/>
                  </a:lnTo>
                  <a:lnTo>
                    <a:pt x="4090" y="2275"/>
                  </a:lnTo>
                  <a:lnTo>
                    <a:pt x="4083" y="2296"/>
                  </a:lnTo>
                  <a:lnTo>
                    <a:pt x="3902" y="2310"/>
                  </a:lnTo>
                  <a:lnTo>
                    <a:pt x="3916" y="2296"/>
                  </a:lnTo>
                  <a:lnTo>
                    <a:pt x="3874" y="2268"/>
                  </a:lnTo>
                  <a:lnTo>
                    <a:pt x="3874" y="2310"/>
                  </a:lnTo>
                  <a:lnTo>
                    <a:pt x="3777" y="2331"/>
                  </a:lnTo>
                  <a:lnTo>
                    <a:pt x="3790" y="2310"/>
                  </a:lnTo>
                  <a:lnTo>
                    <a:pt x="3825" y="2296"/>
                  </a:lnTo>
                  <a:lnTo>
                    <a:pt x="3777" y="2233"/>
                  </a:lnTo>
                  <a:lnTo>
                    <a:pt x="3804" y="2212"/>
                  </a:lnTo>
                  <a:lnTo>
                    <a:pt x="3777" y="2199"/>
                  </a:lnTo>
                  <a:lnTo>
                    <a:pt x="3763" y="2171"/>
                  </a:lnTo>
                  <a:lnTo>
                    <a:pt x="3763" y="2150"/>
                  </a:lnTo>
                  <a:lnTo>
                    <a:pt x="3742" y="2164"/>
                  </a:lnTo>
                  <a:lnTo>
                    <a:pt x="3735" y="2164"/>
                  </a:lnTo>
                  <a:lnTo>
                    <a:pt x="3721" y="2171"/>
                  </a:lnTo>
                  <a:lnTo>
                    <a:pt x="3721" y="2199"/>
                  </a:lnTo>
                  <a:lnTo>
                    <a:pt x="3769" y="2240"/>
                  </a:lnTo>
                  <a:lnTo>
                    <a:pt x="3769" y="2254"/>
                  </a:lnTo>
                  <a:lnTo>
                    <a:pt x="3777" y="2275"/>
                  </a:lnTo>
                  <a:lnTo>
                    <a:pt x="3742" y="2310"/>
                  </a:lnTo>
                  <a:lnTo>
                    <a:pt x="3763" y="2338"/>
                  </a:lnTo>
                  <a:lnTo>
                    <a:pt x="3721" y="2379"/>
                  </a:lnTo>
                  <a:lnTo>
                    <a:pt x="3568" y="2463"/>
                  </a:lnTo>
                  <a:lnTo>
                    <a:pt x="3491" y="2505"/>
                  </a:lnTo>
                  <a:lnTo>
                    <a:pt x="3526" y="2498"/>
                  </a:lnTo>
                  <a:lnTo>
                    <a:pt x="3477" y="2512"/>
                  </a:lnTo>
                  <a:lnTo>
                    <a:pt x="3234" y="2623"/>
                  </a:lnTo>
                  <a:lnTo>
                    <a:pt x="3234" y="2630"/>
                  </a:lnTo>
                  <a:lnTo>
                    <a:pt x="3130" y="2678"/>
                  </a:lnTo>
                  <a:lnTo>
                    <a:pt x="3005" y="2713"/>
                  </a:lnTo>
                  <a:lnTo>
                    <a:pt x="2984" y="2741"/>
                  </a:lnTo>
                  <a:lnTo>
                    <a:pt x="2971" y="2713"/>
                  </a:lnTo>
                  <a:lnTo>
                    <a:pt x="2977" y="2693"/>
                  </a:lnTo>
                  <a:lnTo>
                    <a:pt x="3012" y="2644"/>
                  </a:lnTo>
                  <a:lnTo>
                    <a:pt x="3054" y="2637"/>
                  </a:lnTo>
                  <a:lnTo>
                    <a:pt x="3068" y="2623"/>
                  </a:lnTo>
                  <a:lnTo>
                    <a:pt x="3054" y="2602"/>
                  </a:lnTo>
                  <a:lnTo>
                    <a:pt x="3068" y="2602"/>
                  </a:lnTo>
                  <a:lnTo>
                    <a:pt x="3075" y="2581"/>
                  </a:lnTo>
                  <a:lnTo>
                    <a:pt x="3103" y="2595"/>
                  </a:lnTo>
                  <a:lnTo>
                    <a:pt x="3117" y="2595"/>
                  </a:lnTo>
                  <a:lnTo>
                    <a:pt x="3110" y="2602"/>
                  </a:lnTo>
                  <a:lnTo>
                    <a:pt x="3138" y="2595"/>
                  </a:lnTo>
                  <a:lnTo>
                    <a:pt x="3138" y="2581"/>
                  </a:lnTo>
                  <a:lnTo>
                    <a:pt x="3144" y="2574"/>
                  </a:lnTo>
                  <a:lnTo>
                    <a:pt x="3138" y="2560"/>
                  </a:lnTo>
                  <a:lnTo>
                    <a:pt x="3151" y="2560"/>
                  </a:lnTo>
                  <a:lnTo>
                    <a:pt x="3234" y="2505"/>
                  </a:lnTo>
                  <a:lnTo>
                    <a:pt x="3248" y="2484"/>
                  </a:lnTo>
                  <a:lnTo>
                    <a:pt x="3214" y="2470"/>
                  </a:lnTo>
                  <a:lnTo>
                    <a:pt x="3179" y="2428"/>
                  </a:lnTo>
                  <a:lnTo>
                    <a:pt x="3103" y="2435"/>
                  </a:lnTo>
                  <a:lnTo>
                    <a:pt x="3047" y="2449"/>
                  </a:lnTo>
                  <a:lnTo>
                    <a:pt x="3068" y="2470"/>
                  </a:lnTo>
                  <a:lnTo>
                    <a:pt x="3075" y="2477"/>
                  </a:lnTo>
                  <a:lnTo>
                    <a:pt x="3054" y="2477"/>
                  </a:lnTo>
                  <a:lnTo>
                    <a:pt x="3033" y="2505"/>
                  </a:lnTo>
                  <a:lnTo>
                    <a:pt x="3012" y="2526"/>
                  </a:lnTo>
                  <a:lnTo>
                    <a:pt x="2991" y="2532"/>
                  </a:lnTo>
                  <a:lnTo>
                    <a:pt x="3005" y="2539"/>
                  </a:lnTo>
                  <a:lnTo>
                    <a:pt x="3033" y="2567"/>
                  </a:lnTo>
                  <a:lnTo>
                    <a:pt x="3005" y="2567"/>
                  </a:lnTo>
                  <a:lnTo>
                    <a:pt x="2991" y="2595"/>
                  </a:lnTo>
                  <a:lnTo>
                    <a:pt x="2977" y="2595"/>
                  </a:lnTo>
                  <a:lnTo>
                    <a:pt x="3012" y="2630"/>
                  </a:lnTo>
                  <a:lnTo>
                    <a:pt x="3040" y="2609"/>
                  </a:lnTo>
                  <a:lnTo>
                    <a:pt x="3040" y="2630"/>
                  </a:lnTo>
                  <a:lnTo>
                    <a:pt x="3047" y="2623"/>
                  </a:lnTo>
                  <a:lnTo>
                    <a:pt x="3054" y="2602"/>
                  </a:lnTo>
                  <a:lnTo>
                    <a:pt x="3054" y="2623"/>
                  </a:lnTo>
                  <a:lnTo>
                    <a:pt x="3040" y="2637"/>
                  </a:lnTo>
                  <a:lnTo>
                    <a:pt x="3019" y="2637"/>
                  </a:lnTo>
                  <a:lnTo>
                    <a:pt x="2991" y="2644"/>
                  </a:lnTo>
                  <a:lnTo>
                    <a:pt x="2984" y="2609"/>
                  </a:lnTo>
                  <a:lnTo>
                    <a:pt x="2950" y="2623"/>
                  </a:lnTo>
                  <a:lnTo>
                    <a:pt x="2936" y="2623"/>
                  </a:lnTo>
                  <a:lnTo>
                    <a:pt x="2922" y="2609"/>
                  </a:lnTo>
                  <a:lnTo>
                    <a:pt x="2894" y="2602"/>
                  </a:lnTo>
                  <a:lnTo>
                    <a:pt x="2908" y="2595"/>
                  </a:lnTo>
                  <a:lnTo>
                    <a:pt x="2922" y="2602"/>
                  </a:lnTo>
                  <a:lnTo>
                    <a:pt x="2880" y="2567"/>
                  </a:lnTo>
                  <a:lnTo>
                    <a:pt x="2873" y="2574"/>
                  </a:lnTo>
                  <a:lnTo>
                    <a:pt x="2873" y="2560"/>
                  </a:lnTo>
                  <a:lnTo>
                    <a:pt x="2838" y="2609"/>
                  </a:lnTo>
                  <a:lnTo>
                    <a:pt x="2790" y="2630"/>
                  </a:lnTo>
                  <a:lnTo>
                    <a:pt x="2762" y="2644"/>
                  </a:lnTo>
                  <a:lnTo>
                    <a:pt x="2748" y="2637"/>
                  </a:lnTo>
                  <a:lnTo>
                    <a:pt x="2741" y="2644"/>
                  </a:lnTo>
                  <a:lnTo>
                    <a:pt x="2741" y="2665"/>
                  </a:lnTo>
                  <a:lnTo>
                    <a:pt x="2804" y="2699"/>
                  </a:lnTo>
                  <a:lnTo>
                    <a:pt x="2817" y="2699"/>
                  </a:lnTo>
                  <a:lnTo>
                    <a:pt x="2838" y="2713"/>
                  </a:lnTo>
                  <a:lnTo>
                    <a:pt x="2859" y="2713"/>
                  </a:lnTo>
                  <a:lnTo>
                    <a:pt x="2873" y="2713"/>
                  </a:lnTo>
                  <a:lnTo>
                    <a:pt x="2852" y="2734"/>
                  </a:lnTo>
                  <a:lnTo>
                    <a:pt x="2873" y="2734"/>
                  </a:lnTo>
                  <a:lnTo>
                    <a:pt x="2873" y="2755"/>
                  </a:lnTo>
                  <a:lnTo>
                    <a:pt x="2859" y="2741"/>
                  </a:lnTo>
                  <a:lnTo>
                    <a:pt x="2838" y="2734"/>
                  </a:lnTo>
                  <a:lnTo>
                    <a:pt x="2824" y="2734"/>
                  </a:lnTo>
                  <a:lnTo>
                    <a:pt x="2824" y="2741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83" y="2734"/>
                  </a:lnTo>
                  <a:lnTo>
                    <a:pt x="2790" y="2727"/>
                  </a:lnTo>
                  <a:lnTo>
                    <a:pt x="2776" y="2734"/>
                  </a:lnTo>
                  <a:lnTo>
                    <a:pt x="2783" y="2713"/>
                  </a:lnTo>
                  <a:lnTo>
                    <a:pt x="2776" y="2727"/>
                  </a:lnTo>
                  <a:lnTo>
                    <a:pt x="2776" y="2706"/>
                  </a:lnTo>
                  <a:lnTo>
                    <a:pt x="2790" y="2713"/>
                  </a:lnTo>
                  <a:lnTo>
                    <a:pt x="2727" y="2665"/>
                  </a:lnTo>
                  <a:lnTo>
                    <a:pt x="2720" y="2665"/>
                  </a:lnTo>
                  <a:lnTo>
                    <a:pt x="2727" y="2672"/>
                  </a:lnTo>
                  <a:lnTo>
                    <a:pt x="2727" y="2699"/>
                  </a:lnTo>
                  <a:lnTo>
                    <a:pt x="2692" y="2699"/>
                  </a:lnTo>
                  <a:lnTo>
                    <a:pt x="2706" y="2769"/>
                  </a:lnTo>
                  <a:lnTo>
                    <a:pt x="2685" y="2811"/>
                  </a:lnTo>
                  <a:lnTo>
                    <a:pt x="2713" y="2811"/>
                  </a:lnTo>
                  <a:lnTo>
                    <a:pt x="2713" y="2894"/>
                  </a:lnTo>
                  <a:lnTo>
                    <a:pt x="2692" y="2929"/>
                  </a:lnTo>
                  <a:lnTo>
                    <a:pt x="2644" y="3006"/>
                  </a:lnTo>
                  <a:lnTo>
                    <a:pt x="2630" y="3026"/>
                  </a:lnTo>
                  <a:lnTo>
                    <a:pt x="2623" y="3033"/>
                  </a:lnTo>
                  <a:lnTo>
                    <a:pt x="2616" y="3040"/>
                  </a:lnTo>
                  <a:lnTo>
                    <a:pt x="2630" y="3061"/>
                  </a:lnTo>
                  <a:lnTo>
                    <a:pt x="2650" y="3061"/>
                  </a:lnTo>
                  <a:lnTo>
                    <a:pt x="2623" y="3103"/>
                  </a:lnTo>
                  <a:lnTo>
                    <a:pt x="2630" y="3096"/>
                  </a:lnTo>
                  <a:lnTo>
                    <a:pt x="2630" y="3124"/>
                  </a:lnTo>
                  <a:lnTo>
                    <a:pt x="2650" y="3124"/>
                  </a:lnTo>
                  <a:lnTo>
                    <a:pt x="2657" y="3158"/>
                  </a:lnTo>
                  <a:lnTo>
                    <a:pt x="2623" y="3158"/>
                  </a:lnTo>
                  <a:lnTo>
                    <a:pt x="2623" y="3186"/>
                  </a:lnTo>
                  <a:lnTo>
                    <a:pt x="2650" y="3193"/>
                  </a:lnTo>
                  <a:lnTo>
                    <a:pt x="2644" y="3221"/>
                  </a:lnTo>
                  <a:lnTo>
                    <a:pt x="2657" y="3228"/>
                  </a:lnTo>
                  <a:lnTo>
                    <a:pt x="2657" y="3263"/>
                  </a:lnTo>
                  <a:lnTo>
                    <a:pt x="2713" y="3270"/>
                  </a:lnTo>
                  <a:lnTo>
                    <a:pt x="2720" y="3263"/>
                  </a:lnTo>
                  <a:lnTo>
                    <a:pt x="2706" y="3221"/>
                  </a:lnTo>
                  <a:lnTo>
                    <a:pt x="2720" y="3228"/>
                  </a:lnTo>
                  <a:lnTo>
                    <a:pt x="2727" y="3186"/>
                  </a:lnTo>
                  <a:lnTo>
                    <a:pt x="2748" y="3193"/>
                  </a:lnTo>
                  <a:lnTo>
                    <a:pt x="2741" y="3235"/>
                  </a:lnTo>
                  <a:lnTo>
                    <a:pt x="2748" y="3172"/>
                  </a:lnTo>
                  <a:lnTo>
                    <a:pt x="2790" y="3186"/>
                  </a:lnTo>
                  <a:lnTo>
                    <a:pt x="2762" y="3186"/>
                  </a:lnTo>
                  <a:lnTo>
                    <a:pt x="2783" y="3284"/>
                  </a:lnTo>
                  <a:lnTo>
                    <a:pt x="2824" y="3318"/>
                  </a:lnTo>
                  <a:lnTo>
                    <a:pt x="2811" y="3423"/>
                  </a:lnTo>
                  <a:lnTo>
                    <a:pt x="2817" y="3485"/>
                  </a:lnTo>
                  <a:lnTo>
                    <a:pt x="2873" y="3541"/>
                  </a:lnTo>
                  <a:lnTo>
                    <a:pt x="2950" y="3590"/>
                  </a:lnTo>
                  <a:lnTo>
                    <a:pt x="2971" y="3611"/>
                  </a:lnTo>
                  <a:lnTo>
                    <a:pt x="2957" y="3611"/>
                  </a:lnTo>
                  <a:lnTo>
                    <a:pt x="2991" y="3645"/>
                  </a:lnTo>
                  <a:lnTo>
                    <a:pt x="2991" y="3631"/>
                  </a:lnTo>
                  <a:lnTo>
                    <a:pt x="2984" y="3611"/>
                  </a:lnTo>
                  <a:lnTo>
                    <a:pt x="3068" y="3722"/>
                  </a:lnTo>
                  <a:lnTo>
                    <a:pt x="3075" y="3708"/>
                  </a:lnTo>
                  <a:lnTo>
                    <a:pt x="3054" y="3694"/>
                  </a:lnTo>
                  <a:lnTo>
                    <a:pt x="3130" y="3708"/>
                  </a:lnTo>
                  <a:lnTo>
                    <a:pt x="3138" y="3722"/>
                  </a:lnTo>
                  <a:lnTo>
                    <a:pt x="3165" y="3750"/>
                  </a:lnTo>
                  <a:lnTo>
                    <a:pt x="3165" y="3778"/>
                  </a:lnTo>
                  <a:lnTo>
                    <a:pt x="3138" y="3792"/>
                  </a:lnTo>
                  <a:lnTo>
                    <a:pt x="3138" y="3812"/>
                  </a:lnTo>
                  <a:lnTo>
                    <a:pt x="3144" y="3812"/>
                  </a:lnTo>
                  <a:lnTo>
                    <a:pt x="3103" y="3875"/>
                  </a:lnTo>
                  <a:lnTo>
                    <a:pt x="3103" y="3854"/>
                  </a:lnTo>
                  <a:lnTo>
                    <a:pt x="3089" y="3826"/>
                  </a:lnTo>
                  <a:lnTo>
                    <a:pt x="3089" y="3882"/>
                  </a:lnTo>
                  <a:lnTo>
                    <a:pt x="3089" y="3861"/>
                  </a:lnTo>
                  <a:lnTo>
                    <a:pt x="3103" y="3903"/>
                  </a:lnTo>
                  <a:lnTo>
                    <a:pt x="3089" y="3903"/>
                  </a:lnTo>
                  <a:lnTo>
                    <a:pt x="3103" y="3917"/>
                  </a:lnTo>
                  <a:lnTo>
                    <a:pt x="3054" y="3993"/>
                  </a:lnTo>
                  <a:lnTo>
                    <a:pt x="3054" y="4007"/>
                  </a:lnTo>
                  <a:lnTo>
                    <a:pt x="3068" y="4007"/>
                  </a:lnTo>
                  <a:lnTo>
                    <a:pt x="3012" y="4070"/>
                  </a:lnTo>
                  <a:lnTo>
                    <a:pt x="2991" y="4035"/>
                  </a:lnTo>
                  <a:lnTo>
                    <a:pt x="2977" y="4014"/>
                  </a:lnTo>
                  <a:lnTo>
                    <a:pt x="3005" y="3952"/>
                  </a:lnTo>
                  <a:lnTo>
                    <a:pt x="2991" y="3910"/>
                  </a:lnTo>
                  <a:lnTo>
                    <a:pt x="2957" y="3910"/>
                  </a:lnTo>
                  <a:lnTo>
                    <a:pt x="2950" y="3917"/>
                  </a:lnTo>
                  <a:lnTo>
                    <a:pt x="2915" y="3979"/>
                  </a:lnTo>
                  <a:lnTo>
                    <a:pt x="2936" y="3993"/>
                  </a:lnTo>
                  <a:lnTo>
                    <a:pt x="2936" y="3986"/>
                  </a:lnTo>
                  <a:lnTo>
                    <a:pt x="2971" y="4035"/>
                  </a:lnTo>
                  <a:lnTo>
                    <a:pt x="2922" y="4042"/>
                  </a:lnTo>
                  <a:lnTo>
                    <a:pt x="2936" y="4070"/>
                  </a:lnTo>
                  <a:lnTo>
                    <a:pt x="2957" y="4070"/>
                  </a:lnTo>
                  <a:lnTo>
                    <a:pt x="2977" y="4084"/>
                  </a:lnTo>
                  <a:lnTo>
                    <a:pt x="2957" y="4112"/>
                  </a:lnTo>
                  <a:lnTo>
                    <a:pt x="2950" y="4119"/>
                  </a:lnTo>
                  <a:lnTo>
                    <a:pt x="2922" y="4139"/>
                  </a:lnTo>
                  <a:lnTo>
                    <a:pt x="2845" y="4070"/>
                  </a:lnTo>
                  <a:lnTo>
                    <a:pt x="2838" y="4007"/>
                  </a:lnTo>
                  <a:lnTo>
                    <a:pt x="2762" y="3993"/>
                  </a:lnTo>
                  <a:lnTo>
                    <a:pt x="2741" y="3958"/>
                  </a:lnTo>
                  <a:lnTo>
                    <a:pt x="2748" y="3917"/>
                  </a:lnTo>
                  <a:lnTo>
                    <a:pt x="2741" y="3882"/>
                  </a:lnTo>
                  <a:lnTo>
                    <a:pt x="2755" y="3840"/>
                  </a:lnTo>
                  <a:lnTo>
                    <a:pt x="2727" y="3806"/>
                  </a:lnTo>
                  <a:lnTo>
                    <a:pt x="2706" y="3819"/>
                  </a:lnTo>
                  <a:lnTo>
                    <a:pt x="2706" y="3806"/>
                  </a:lnTo>
                  <a:lnTo>
                    <a:pt x="2692" y="3812"/>
                  </a:lnTo>
                  <a:lnTo>
                    <a:pt x="2678" y="3819"/>
                  </a:lnTo>
                  <a:lnTo>
                    <a:pt x="2650" y="3847"/>
                  </a:lnTo>
                  <a:lnTo>
                    <a:pt x="2588" y="3847"/>
                  </a:lnTo>
                  <a:lnTo>
                    <a:pt x="2553" y="3812"/>
                  </a:lnTo>
                  <a:lnTo>
                    <a:pt x="2532" y="3826"/>
                  </a:lnTo>
                  <a:lnTo>
                    <a:pt x="2511" y="3840"/>
                  </a:lnTo>
                  <a:lnTo>
                    <a:pt x="2463" y="3806"/>
                  </a:lnTo>
                  <a:lnTo>
                    <a:pt x="2463" y="3778"/>
                  </a:lnTo>
                  <a:lnTo>
                    <a:pt x="2435" y="3771"/>
                  </a:lnTo>
                  <a:lnTo>
                    <a:pt x="2435" y="3743"/>
                  </a:lnTo>
                  <a:lnTo>
                    <a:pt x="2414" y="3750"/>
                  </a:lnTo>
                  <a:lnTo>
                    <a:pt x="2400" y="3743"/>
                  </a:lnTo>
                  <a:lnTo>
                    <a:pt x="2379" y="3750"/>
                  </a:lnTo>
                  <a:lnTo>
                    <a:pt x="2358" y="3729"/>
                  </a:lnTo>
                  <a:lnTo>
                    <a:pt x="2296" y="3729"/>
                  </a:lnTo>
                  <a:lnTo>
                    <a:pt x="2254" y="3715"/>
                  </a:lnTo>
                  <a:lnTo>
                    <a:pt x="2219" y="3708"/>
                  </a:lnTo>
                  <a:lnTo>
                    <a:pt x="2156" y="3729"/>
                  </a:lnTo>
                  <a:lnTo>
                    <a:pt x="2024" y="3743"/>
                  </a:lnTo>
                  <a:lnTo>
                    <a:pt x="2004" y="3743"/>
                  </a:lnTo>
                  <a:lnTo>
                    <a:pt x="1941" y="3729"/>
                  </a:lnTo>
                  <a:lnTo>
                    <a:pt x="1899" y="3771"/>
                  </a:lnTo>
                  <a:lnTo>
                    <a:pt x="1857" y="3778"/>
                  </a:lnTo>
                  <a:lnTo>
                    <a:pt x="1843" y="3792"/>
                  </a:lnTo>
                  <a:lnTo>
                    <a:pt x="1843" y="3826"/>
                  </a:lnTo>
                  <a:lnTo>
                    <a:pt x="1823" y="3840"/>
                  </a:lnTo>
                  <a:lnTo>
                    <a:pt x="1704" y="3882"/>
                  </a:lnTo>
                  <a:lnTo>
                    <a:pt x="1663" y="3917"/>
                  </a:lnTo>
                  <a:lnTo>
                    <a:pt x="1600" y="3917"/>
                  </a:lnTo>
                  <a:lnTo>
                    <a:pt x="1593" y="3875"/>
                  </a:lnTo>
                  <a:lnTo>
                    <a:pt x="1531" y="3840"/>
                  </a:lnTo>
                  <a:lnTo>
                    <a:pt x="1496" y="3819"/>
                  </a:lnTo>
                  <a:lnTo>
                    <a:pt x="1398" y="3819"/>
                  </a:lnTo>
                  <a:lnTo>
                    <a:pt x="1384" y="3819"/>
                  </a:lnTo>
                  <a:lnTo>
                    <a:pt x="1329" y="3840"/>
                  </a:lnTo>
                  <a:lnTo>
                    <a:pt x="1329" y="3792"/>
                  </a:lnTo>
                  <a:lnTo>
                    <a:pt x="1336" y="3778"/>
                  </a:lnTo>
                  <a:lnTo>
                    <a:pt x="1308" y="3750"/>
                  </a:lnTo>
                  <a:lnTo>
                    <a:pt x="1266" y="3743"/>
                  </a:lnTo>
                  <a:lnTo>
                    <a:pt x="1169" y="3687"/>
                  </a:lnTo>
                  <a:lnTo>
                    <a:pt x="1120" y="3652"/>
                  </a:lnTo>
                  <a:lnTo>
                    <a:pt x="1092" y="3652"/>
                  </a:lnTo>
                  <a:lnTo>
                    <a:pt x="1057" y="3618"/>
                  </a:lnTo>
                  <a:lnTo>
                    <a:pt x="1071" y="3590"/>
                  </a:lnTo>
                  <a:lnTo>
                    <a:pt x="1071" y="3562"/>
                  </a:lnTo>
                  <a:lnTo>
                    <a:pt x="1037" y="3583"/>
                  </a:lnTo>
                  <a:lnTo>
                    <a:pt x="1009" y="3583"/>
                  </a:lnTo>
                  <a:lnTo>
                    <a:pt x="1002" y="3576"/>
                  </a:lnTo>
                  <a:lnTo>
                    <a:pt x="960" y="3555"/>
                  </a:lnTo>
                  <a:lnTo>
                    <a:pt x="918" y="3555"/>
                  </a:lnTo>
                  <a:lnTo>
                    <a:pt x="911" y="3548"/>
                  </a:lnTo>
                  <a:lnTo>
                    <a:pt x="925" y="3499"/>
                  </a:lnTo>
                  <a:lnTo>
                    <a:pt x="918" y="3479"/>
                  </a:lnTo>
                  <a:lnTo>
                    <a:pt x="960" y="3444"/>
                  </a:lnTo>
                  <a:lnTo>
                    <a:pt x="953" y="3444"/>
                  </a:lnTo>
                  <a:lnTo>
                    <a:pt x="863" y="3402"/>
                  </a:lnTo>
                  <a:lnTo>
                    <a:pt x="856" y="3416"/>
                  </a:lnTo>
                  <a:lnTo>
                    <a:pt x="842" y="3458"/>
                  </a:lnTo>
                  <a:lnTo>
                    <a:pt x="793" y="3430"/>
                  </a:lnTo>
                  <a:lnTo>
                    <a:pt x="786" y="3479"/>
                  </a:lnTo>
                  <a:lnTo>
                    <a:pt x="751" y="3465"/>
                  </a:lnTo>
                  <a:lnTo>
                    <a:pt x="710" y="3444"/>
                  </a:lnTo>
                  <a:lnTo>
                    <a:pt x="682" y="3416"/>
                  </a:lnTo>
                  <a:lnTo>
                    <a:pt x="696" y="3388"/>
                  </a:lnTo>
                  <a:lnTo>
                    <a:pt x="710" y="3353"/>
                  </a:lnTo>
                  <a:lnTo>
                    <a:pt x="689" y="3353"/>
                  </a:lnTo>
                  <a:lnTo>
                    <a:pt x="682" y="3346"/>
                  </a:lnTo>
                  <a:lnTo>
                    <a:pt x="647" y="3353"/>
                  </a:lnTo>
                  <a:lnTo>
                    <a:pt x="619" y="3346"/>
                  </a:lnTo>
                  <a:lnTo>
                    <a:pt x="626" y="3270"/>
                  </a:lnTo>
                  <a:lnTo>
                    <a:pt x="591" y="3249"/>
                  </a:lnTo>
                  <a:lnTo>
                    <a:pt x="543" y="3228"/>
                  </a:lnTo>
                  <a:lnTo>
                    <a:pt x="522" y="3214"/>
                  </a:lnTo>
                  <a:lnTo>
                    <a:pt x="522" y="3172"/>
                  </a:lnTo>
                  <a:lnTo>
                    <a:pt x="466" y="3166"/>
                  </a:lnTo>
                  <a:lnTo>
                    <a:pt x="459" y="3138"/>
                  </a:lnTo>
                  <a:lnTo>
                    <a:pt x="445" y="3138"/>
                  </a:lnTo>
                  <a:lnTo>
                    <a:pt x="424" y="3138"/>
                  </a:lnTo>
                  <a:lnTo>
                    <a:pt x="369" y="3124"/>
                  </a:lnTo>
                  <a:lnTo>
                    <a:pt x="362" y="3089"/>
                  </a:lnTo>
                  <a:lnTo>
                    <a:pt x="355" y="3082"/>
                  </a:lnTo>
                  <a:lnTo>
                    <a:pt x="264" y="2991"/>
                  </a:lnTo>
                  <a:lnTo>
                    <a:pt x="216" y="3040"/>
                  </a:lnTo>
                  <a:lnTo>
                    <a:pt x="195" y="3054"/>
                  </a:lnTo>
                  <a:lnTo>
                    <a:pt x="174" y="3040"/>
                  </a:lnTo>
                  <a:lnTo>
                    <a:pt x="188" y="2991"/>
                  </a:lnTo>
                  <a:lnTo>
                    <a:pt x="139" y="2991"/>
                  </a:lnTo>
                  <a:lnTo>
                    <a:pt x="153" y="2943"/>
                  </a:lnTo>
                  <a:lnTo>
                    <a:pt x="104" y="2936"/>
                  </a:lnTo>
                  <a:lnTo>
                    <a:pt x="104" y="2908"/>
                  </a:lnTo>
                  <a:lnTo>
                    <a:pt x="153" y="2873"/>
                  </a:lnTo>
                  <a:lnTo>
                    <a:pt x="132" y="2852"/>
                  </a:lnTo>
                  <a:lnTo>
                    <a:pt x="167" y="2804"/>
                  </a:lnTo>
                  <a:lnTo>
                    <a:pt x="160" y="2804"/>
                  </a:lnTo>
                  <a:lnTo>
                    <a:pt x="153" y="2769"/>
                  </a:lnTo>
                  <a:lnTo>
                    <a:pt x="77" y="2755"/>
                  </a:lnTo>
                  <a:lnTo>
                    <a:pt x="63" y="2769"/>
                  </a:lnTo>
                  <a:lnTo>
                    <a:pt x="42" y="2769"/>
                  </a:lnTo>
                  <a:lnTo>
                    <a:pt x="56" y="2713"/>
                  </a:lnTo>
                  <a:lnTo>
                    <a:pt x="7" y="2727"/>
                  </a:lnTo>
                  <a:lnTo>
                    <a:pt x="0" y="2706"/>
                  </a:lnTo>
                  <a:lnTo>
                    <a:pt x="35" y="2706"/>
                  </a:lnTo>
                  <a:lnTo>
                    <a:pt x="35" y="2630"/>
                  </a:lnTo>
                  <a:lnTo>
                    <a:pt x="28" y="2560"/>
                  </a:lnTo>
                  <a:lnTo>
                    <a:pt x="28" y="2526"/>
                  </a:lnTo>
                  <a:lnTo>
                    <a:pt x="21" y="2449"/>
                  </a:lnTo>
                  <a:lnTo>
                    <a:pt x="21" y="2414"/>
                  </a:lnTo>
                  <a:lnTo>
                    <a:pt x="7" y="2351"/>
                  </a:lnTo>
                  <a:lnTo>
                    <a:pt x="118" y="2233"/>
                  </a:lnTo>
                  <a:lnTo>
                    <a:pt x="188" y="2136"/>
                  </a:lnTo>
                  <a:lnTo>
                    <a:pt x="236" y="2053"/>
                  </a:lnTo>
                  <a:lnTo>
                    <a:pt x="313" y="1948"/>
                  </a:lnTo>
                  <a:lnTo>
                    <a:pt x="369" y="1858"/>
                  </a:lnTo>
                  <a:lnTo>
                    <a:pt x="445" y="1906"/>
                  </a:lnTo>
                  <a:lnTo>
                    <a:pt x="431" y="1913"/>
                  </a:lnTo>
                  <a:lnTo>
                    <a:pt x="424" y="1941"/>
                  </a:lnTo>
                  <a:lnTo>
                    <a:pt x="445" y="1976"/>
                  </a:lnTo>
                  <a:lnTo>
                    <a:pt x="403" y="2025"/>
                  </a:lnTo>
                  <a:lnTo>
                    <a:pt x="369" y="2108"/>
                  </a:lnTo>
                  <a:lnTo>
                    <a:pt x="424" y="2108"/>
                  </a:lnTo>
                  <a:lnTo>
                    <a:pt x="501" y="2143"/>
                  </a:lnTo>
                  <a:lnTo>
                    <a:pt x="487" y="2171"/>
                  </a:lnTo>
                  <a:lnTo>
                    <a:pt x="529" y="2205"/>
                  </a:lnTo>
                  <a:lnTo>
                    <a:pt x="557" y="2178"/>
                  </a:lnTo>
                  <a:lnTo>
                    <a:pt x="563" y="2178"/>
                  </a:lnTo>
                  <a:lnTo>
                    <a:pt x="584" y="2150"/>
                  </a:lnTo>
                  <a:lnTo>
                    <a:pt x="578" y="2185"/>
                  </a:lnTo>
                  <a:lnTo>
                    <a:pt x="626" y="2143"/>
                  </a:lnTo>
                  <a:lnTo>
                    <a:pt x="626" y="2136"/>
                  </a:lnTo>
                  <a:lnTo>
                    <a:pt x="654" y="2108"/>
                  </a:lnTo>
                  <a:lnTo>
                    <a:pt x="654" y="2136"/>
                  </a:lnTo>
                  <a:lnTo>
                    <a:pt x="696" y="2136"/>
                  </a:lnTo>
                  <a:lnTo>
                    <a:pt x="724" y="2108"/>
                  </a:lnTo>
                  <a:lnTo>
                    <a:pt x="786" y="2164"/>
                  </a:lnTo>
                  <a:lnTo>
                    <a:pt x="807" y="2164"/>
                  </a:lnTo>
                  <a:lnTo>
                    <a:pt x="828" y="2164"/>
                  </a:lnTo>
                  <a:lnTo>
                    <a:pt x="856" y="2150"/>
                  </a:lnTo>
                  <a:lnTo>
                    <a:pt x="863" y="2115"/>
                  </a:lnTo>
                  <a:lnTo>
                    <a:pt x="911" y="2080"/>
                  </a:lnTo>
                  <a:lnTo>
                    <a:pt x="918" y="1983"/>
                  </a:lnTo>
                  <a:lnTo>
                    <a:pt x="918" y="1955"/>
                  </a:lnTo>
                  <a:lnTo>
                    <a:pt x="960" y="1969"/>
                  </a:lnTo>
                  <a:lnTo>
                    <a:pt x="953" y="1941"/>
                  </a:lnTo>
                  <a:lnTo>
                    <a:pt x="946" y="1892"/>
                  </a:lnTo>
                  <a:lnTo>
                    <a:pt x="953" y="1878"/>
                  </a:lnTo>
                  <a:lnTo>
                    <a:pt x="988" y="1858"/>
                  </a:lnTo>
                  <a:lnTo>
                    <a:pt x="988" y="1823"/>
                  </a:lnTo>
                  <a:lnTo>
                    <a:pt x="1023" y="1788"/>
                  </a:lnTo>
                  <a:lnTo>
                    <a:pt x="1023" y="1760"/>
                  </a:lnTo>
                  <a:lnTo>
                    <a:pt x="1016" y="1753"/>
                  </a:lnTo>
                  <a:lnTo>
                    <a:pt x="1043" y="1739"/>
                  </a:lnTo>
                  <a:lnTo>
                    <a:pt x="1043" y="1711"/>
                  </a:lnTo>
                  <a:lnTo>
                    <a:pt x="1057" y="1677"/>
                  </a:lnTo>
                  <a:lnTo>
                    <a:pt x="1051" y="1663"/>
                  </a:lnTo>
                  <a:lnTo>
                    <a:pt x="1071" y="1677"/>
                  </a:lnTo>
                  <a:lnTo>
                    <a:pt x="1120" y="1663"/>
                  </a:lnTo>
                  <a:lnTo>
                    <a:pt x="1120" y="1628"/>
                  </a:lnTo>
                  <a:lnTo>
                    <a:pt x="1134" y="1649"/>
                  </a:lnTo>
                  <a:lnTo>
                    <a:pt x="1141" y="1642"/>
                  </a:lnTo>
                  <a:lnTo>
                    <a:pt x="1169" y="1677"/>
                  </a:lnTo>
                  <a:lnTo>
                    <a:pt x="1190" y="1684"/>
                  </a:lnTo>
                  <a:lnTo>
                    <a:pt x="1203" y="1684"/>
                  </a:lnTo>
                  <a:lnTo>
                    <a:pt x="1203" y="1656"/>
                  </a:lnTo>
                  <a:lnTo>
                    <a:pt x="1218" y="1649"/>
                  </a:lnTo>
                  <a:lnTo>
                    <a:pt x="1218" y="1614"/>
                  </a:lnTo>
                  <a:lnTo>
                    <a:pt x="1266" y="1607"/>
                  </a:lnTo>
                  <a:lnTo>
                    <a:pt x="1266" y="1593"/>
                  </a:lnTo>
                  <a:lnTo>
                    <a:pt x="1245" y="1524"/>
                  </a:lnTo>
                  <a:lnTo>
                    <a:pt x="1370" y="1531"/>
                  </a:lnTo>
                  <a:lnTo>
                    <a:pt x="1412" y="1489"/>
                  </a:lnTo>
                  <a:lnTo>
                    <a:pt x="1440" y="1475"/>
                  </a:lnTo>
                  <a:lnTo>
                    <a:pt x="1468" y="1461"/>
                  </a:lnTo>
                  <a:lnTo>
                    <a:pt x="1531" y="1461"/>
                  </a:lnTo>
                  <a:lnTo>
                    <a:pt x="1579" y="1475"/>
                  </a:lnTo>
                  <a:lnTo>
                    <a:pt x="1593" y="1559"/>
                  </a:lnTo>
                  <a:lnTo>
                    <a:pt x="1663" y="1559"/>
                  </a:lnTo>
                  <a:lnTo>
                    <a:pt x="1663" y="1579"/>
                  </a:lnTo>
                  <a:lnTo>
                    <a:pt x="1760" y="1559"/>
                  </a:lnTo>
                  <a:lnTo>
                    <a:pt x="1746" y="1524"/>
                  </a:lnTo>
                  <a:lnTo>
                    <a:pt x="1760" y="1517"/>
                  </a:lnTo>
                  <a:lnTo>
                    <a:pt x="1732" y="1454"/>
                  </a:lnTo>
                  <a:lnTo>
                    <a:pt x="1746" y="1426"/>
                  </a:lnTo>
                  <a:lnTo>
                    <a:pt x="1725" y="1413"/>
                  </a:lnTo>
                  <a:lnTo>
                    <a:pt x="1767" y="1392"/>
                  </a:lnTo>
                  <a:lnTo>
                    <a:pt x="1795" y="1392"/>
                  </a:lnTo>
                  <a:lnTo>
                    <a:pt x="1774" y="1357"/>
                  </a:lnTo>
                  <a:lnTo>
                    <a:pt x="1746" y="1294"/>
                  </a:lnTo>
                  <a:lnTo>
                    <a:pt x="1774" y="1287"/>
                  </a:lnTo>
                  <a:lnTo>
                    <a:pt x="1843" y="1259"/>
                  </a:lnTo>
                  <a:lnTo>
                    <a:pt x="1864" y="1259"/>
                  </a:lnTo>
                  <a:lnTo>
                    <a:pt x="1885" y="1287"/>
                  </a:lnTo>
                  <a:lnTo>
                    <a:pt x="1899" y="1259"/>
                  </a:lnTo>
                  <a:lnTo>
                    <a:pt x="1969" y="1259"/>
                  </a:lnTo>
                  <a:lnTo>
                    <a:pt x="1990" y="1252"/>
                  </a:lnTo>
                  <a:lnTo>
                    <a:pt x="2017" y="1252"/>
                  </a:lnTo>
                  <a:lnTo>
                    <a:pt x="2094" y="1225"/>
                  </a:lnTo>
                  <a:lnTo>
                    <a:pt x="2122" y="1197"/>
                  </a:lnTo>
                  <a:lnTo>
                    <a:pt x="2115" y="1190"/>
                  </a:lnTo>
                  <a:lnTo>
                    <a:pt x="2136" y="1155"/>
                  </a:lnTo>
                  <a:lnTo>
                    <a:pt x="2156" y="1113"/>
                  </a:lnTo>
                  <a:lnTo>
                    <a:pt x="2191" y="1120"/>
                  </a:lnTo>
                  <a:lnTo>
                    <a:pt x="2205" y="1065"/>
                  </a:lnTo>
                  <a:lnTo>
                    <a:pt x="2184" y="1058"/>
                  </a:lnTo>
                  <a:lnTo>
                    <a:pt x="2129" y="1002"/>
                  </a:lnTo>
                  <a:lnTo>
                    <a:pt x="2156" y="939"/>
                  </a:lnTo>
                  <a:lnTo>
                    <a:pt x="2136" y="939"/>
                  </a:lnTo>
                  <a:lnTo>
                    <a:pt x="2101" y="939"/>
                  </a:lnTo>
                  <a:lnTo>
                    <a:pt x="2087" y="884"/>
                  </a:lnTo>
                  <a:lnTo>
                    <a:pt x="2052" y="898"/>
                  </a:lnTo>
                  <a:lnTo>
                    <a:pt x="2004" y="898"/>
                  </a:lnTo>
                  <a:lnTo>
                    <a:pt x="1997" y="870"/>
                  </a:lnTo>
                  <a:lnTo>
                    <a:pt x="2017" y="821"/>
                  </a:lnTo>
                  <a:lnTo>
                    <a:pt x="1997" y="793"/>
                  </a:lnTo>
                  <a:lnTo>
                    <a:pt x="1941" y="745"/>
                  </a:lnTo>
                  <a:lnTo>
                    <a:pt x="1899" y="703"/>
                  </a:lnTo>
                  <a:lnTo>
                    <a:pt x="1941" y="689"/>
                  </a:lnTo>
                  <a:lnTo>
                    <a:pt x="1969" y="668"/>
                  </a:lnTo>
                  <a:lnTo>
                    <a:pt x="1976" y="661"/>
                  </a:lnTo>
                  <a:lnTo>
                    <a:pt x="1997" y="675"/>
                  </a:lnTo>
                  <a:lnTo>
                    <a:pt x="2017" y="592"/>
                  </a:lnTo>
                  <a:lnTo>
                    <a:pt x="2004" y="578"/>
                  </a:lnTo>
                  <a:lnTo>
                    <a:pt x="2024" y="543"/>
                  </a:lnTo>
                  <a:lnTo>
                    <a:pt x="2066" y="515"/>
                  </a:lnTo>
                  <a:lnTo>
                    <a:pt x="2087" y="480"/>
                  </a:lnTo>
                  <a:lnTo>
                    <a:pt x="2031" y="459"/>
                  </a:lnTo>
                  <a:lnTo>
                    <a:pt x="1962" y="446"/>
                  </a:lnTo>
                  <a:lnTo>
                    <a:pt x="1969" y="397"/>
                  </a:lnTo>
                  <a:lnTo>
                    <a:pt x="1990" y="376"/>
                  </a:lnTo>
                  <a:lnTo>
                    <a:pt x="2136" y="327"/>
                  </a:lnTo>
                  <a:lnTo>
                    <a:pt x="2184" y="327"/>
                  </a:lnTo>
                  <a:lnTo>
                    <a:pt x="2205" y="300"/>
                  </a:lnTo>
                  <a:lnTo>
                    <a:pt x="2254" y="300"/>
                  </a:lnTo>
                  <a:lnTo>
                    <a:pt x="2261" y="327"/>
                  </a:lnTo>
                  <a:lnTo>
                    <a:pt x="2296" y="285"/>
                  </a:lnTo>
                  <a:lnTo>
                    <a:pt x="2351" y="181"/>
                  </a:lnTo>
                  <a:lnTo>
                    <a:pt x="2351" y="153"/>
                  </a:lnTo>
                  <a:lnTo>
                    <a:pt x="2379" y="105"/>
                  </a:lnTo>
                  <a:lnTo>
                    <a:pt x="2393" y="84"/>
                  </a:lnTo>
                  <a:lnTo>
                    <a:pt x="2386" y="42"/>
                  </a:lnTo>
                  <a:lnTo>
                    <a:pt x="2386" y="14"/>
                  </a:lnTo>
                  <a:lnTo>
                    <a:pt x="2498" y="98"/>
                  </a:lnTo>
                  <a:lnTo>
                    <a:pt x="2511" y="105"/>
                  </a:lnTo>
                  <a:lnTo>
                    <a:pt x="2553" y="105"/>
                  </a:lnTo>
                  <a:lnTo>
                    <a:pt x="2581" y="133"/>
                  </a:lnTo>
                  <a:lnTo>
                    <a:pt x="2595" y="153"/>
                  </a:lnTo>
                  <a:lnTo>
                    <a:pt x="2588" y="167"/>
                  </a:lnTo>
                  <a:lnTo>
                    <a:pt x="2588" y="195"/>
                  </a:lnTo>
                  <a:lnTo>
                    <a:pt x="2644" y="146"/>
                  </a:lnTo>
                  <a:lnTo>
                    <a:pt x="2664" y="139"/>
                  </a:lnTo>
                  <a:lnTo>
                    <a:pt x="2685" y="119"/>
                  </a:lnTo>
                  <a:lnTo>
                    <a:pt x="2762" y="133"/>
                  </a:lnTo>
                  <a:lnTo>
                    <a:pt x="2790" y="112"/>
                  </a:lnTo>
                  <a:lnTo>
                    <a:pt x="2838" y="112"/>
                  </a:lnTo>
                  <a:lnTo>
                    <a:pt x="2873" y="133"/>
                  </a:lnTo>
                  <a:lnTo>
                    <a:pt x="2915" y="112"/>
                  </a:lnTo>
                  <a:lnTo>
                    <a:pt x="2894" y="77"/>
                  </a:lnTo>
                  <a:lnTo>
                    <a:pt x="2950" y="70"/>
                  </a:lnTo>
                  <a:lnTo>
                    <a:pt x="3012" y="14"/>
                  </a:lnTo>
                  <a:lnTo>
                    <a:pt x="3068" y="0"/>
                  </a:lnTo>
                  <a:lnTo>
                    <a:pt x="3144" y="14"/>
                  </a:lnTo>
                  <a:lnTo>
                    <a:pt x="3172" y="42"/>
                  </a:lnTo>
                  <a:lnTo>
                    <a:pt x="3214" y="56"/>
                  </a:lnTo>
                  <a:lnTo>
                    <a:pt x="3220" y="49"/>
                  </a:lnTo>
                  <a:lnTo>
                    <a:pt x="3310" y="49"/>
                  </a:lnTo>
                  <a:lnTo>
                    <a:pt x="3345" y="56"/>
                  </a:lnTo>
                  <a:lnTo>
                    <a:pt x="3366" y="49"/>
                  </a:lnTo>
                  <a:lnTo>
                    <a:pt x="3450" y="70"/>
                  </a:lnTo>
                  <a:lnTo>
                    <a:pt x="3477" y="98"/>
                  </a:lnTo>
                  <a:lnTo>
                    <a:pt x="3470" y="112"/>
                  </a:lnTo>
                  <a:lnTo>
                    <a:pt x="3477" y="167"/>
                  </a:lnTo>
                  <a:lnTo>
                    <a:pt x="3498" y="202"/>
                  </a:lnTo>
                  <a:lnTo>
                    <a:pt x="3477" y="272"/>
                  </a:lnTo>
                  <a:lnTo>
                    <a:pt x="3505" y="300"/>
                  </a:lnTo>
                  <a:lnTo>
                    <a:pt x="3477" y="306"/>
                  </a:lnTo>
                  <a:lnTo>
                    <a:pt x="3450" y="300"/>
                  </a:lnTo>
                  <a:lnTo>
                    <a:pt x="3394" y="334"/>
                  </a:lnTo>
                  <a:lnTo>
                    <a:pt x="3310" y="369"/>
                  </a:lnTo>
                  <a:lnTo>
                    <a:pt x="3303" y="397"/>
                  </a:lnTo>
                  <a:lnTo>
                    <a:pt x="3345" y="432"/>
                  </a:lnTo>
                  <a:lnTo>
                    <a:pt x="3359" y="473"/>
                  </a:lnTo>
                  <a:lnTo>
                    <a:pt x="3296" y="446"/>
                  </a:lnTo>
                  <a:lnTo>
                    <a:pt x="3269" y="473"/>
                  </a:lnTo>
                  <a:lnTo>
                    <a:pt x="3214" y="446"/>
                  </a:lnTo>
                  <a:lnTo>
                    <a:pt x="3172" y="480"/>
                  </a:lnTo>
                  <a:lnTo>
                    <a:pt x="3151" y="473"/>
                  </a:lnTo>
                  <a:lnTo>
                    <a:pt x="3144" y="494"/>
                  </a:lnTo>
                  <a:lnTo>
                    <a:pt x="3130" y="508"/>
                  </a:lnTo>
                  <a:lnTo>
                    <a:pt x="3089" y="557"/>
                  </a:lnTo>
                  <a:lnTo>
                    <a:pt x="3089" y="578"/>
                  </a:lnTo>
                  <a:lnTo>
                    <a:pt x="3054" y="626"/>
                  </a:lnTo>
                  <a:lnTo>
                    <a:pt x="3033" y="633"/>
                  </a:lnTo>
                  <a:lnTo>
                    <a:pt x="3040" y="675"/>
                  </a:lnTo>
                  <a:lnTo>
                    <a:pt x="3019" y="668"/>
                  </a:lnTo>
                  <a:lnTo>
                    <a:pt x="3019" y="696"/>
                  </a:lnTo>
                  <a:lnTo>
                    <a:pt x="2957" y="710"/>
                  </a:lnTo>
                  <a:lnTo>
                    <a:pt x="2957" y="765"/>
                  </a:lnTo>
                  <a:lnTo>
                    <a:pt x="2943" y="765"/>
                  </a:lnTo>
                  <a:lnTo>
                    <a:pt x="2894" y="765"/>
                  </a:lnTo>
                  <a:lnTo>
                    <a:pt x="2887" y="773"/>
                  </a:lnTo>
                  <a:lnTo>
                    <a:pt x="2859" y="786"/>
                  </a:lnTo>
                  <a:lnTo>
                    <a:pt x="2852" y="842"/>
                  </a:lnTo>
                  <a:lnTo>
                    <a:pt x="2845" y="856"/>
                  </a:lnTo>
                  <a:lnTo>
                    <a:pt x="2824" y="863"/>
                  </a:lnTo>
                  <a:lnTo>
                    <a:pt x="2804" y="905"/>
                  </a:lnTo>
                  <a:lnTo>
                    <a:pt x="2838" y="967"/>
                  </a:lnTo>
                  <a:lnTo>
                    <a:pt x="2887" y="1002"/>
                  </a:lnTo>
                  <a:lnTo>
                    <a:pt x="2915" y="995"/>
                  </a:lnTo>
                  <a:lnTo>
                    <a:pt x="2936" y="995"/>
                  </a:lnTo>
                  <a:lnTo>
                    <a:pt x="2943" y="995"/>
                  </a:lnTo>
                  <a:lnTo>
                    <a:pt x="2936" y="1030"/>
                  </a:lnTo>
                  <a:lnTo>
                    <a:pt x="3012" y="1037"/>
                  </a:lnTo>
                  <a:lnTo>
                    <a:pt x="3019" y="1113"/>
                  </a:lnTo>
                  <a:lnTo>
                    <a:pt x="3089" y="1169"/>
                  </a:lnTo>
                  <a:lnTo>
                    <a:pt x="3089" y="1197"/>
                  </a:lnTo>
                  <a:lnTo>
                    <a:pt x="3089" y="1204"/>
                  </a:lnTo>
                  <a:lnTo>
                    <a:pt x="3082" y="1246"/>
                  </a:lnTo>
                  <a:lnTo>
                    <a:pt x="3075" y="1252"/>
                  </a:lnTo>
                  <a:lnTo>
                    <a:pt x="3019" y="1294"/>
                  </a:lnTo>
                  <a:lnTo>
                    <a:pt x="3012" y="1301"/>
                  </a:lnTo>
                  <a:lnTo>
                    <a:pt x="2950" y="1357"/>
                  </a:lnTo>
                  <a:lnTo>
                    <a:pt x="2950" y="1364"/>
                  </a:lnTo>
                  <a:lnTo>
                    <a:pt x="2936" y="1399"/>
                  </a:lnTo>
                  <a:lnTo>
                    <a:pt x="2936" y="1413"/>
                  </a:lnTo>
                  <a:lnTo>
                    <a:pt x="2957" y="1447"/>
                  </a:lnTo>
                  <a:lnTo>
                    <a:pt x="2977" y="1524"/>
                  </a:lnTo>
                  <a:lnTo>
                    <a:pt x="2977" y="1607"/>
                  </a:lnTo>
                  <a:lnTo>
                    <a:pt x="3033" y="1614"/>
                  </a:lnTo>
                  <a:lnTo>
                    <a:pt x="3040" y="1628"/>
                  </a:lnTo>
                  <a:lnTo>
                    <a:pt x="3075" y="1656"/>
                  </a:lnTo>
                  <a:lnTo>
                    <a:pt x="3110" y="1663"/>
                  </a:lnTo>
                  <a:lnTo>
                    <a:pt x="3130" y="1705"/>
                  </a:lnTo>
                  <a:lnTo>
                    <a:pt x="3138" y="1705"/>
                  </a:lnTo>
                  <a:lnTo>
                    <a:pt x="3117" y="1719"/>
                  </a:lnTo>
                  <a:lnTo>
                    <a:pt x="3144" y="1746"/>
                  </a:lnTo>
                  <a:lnTo>
                    <a:pt x="3151" y="1788"/>
                  </a:lnTo>
                  <a:lnTo>
                    <a:pt x="3179" y="179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49" name="Freeform 108"/>
            <p:cNvSpPr>
              <a:spLocks noChangeArrowheads="1"/>
            </p:cNvSpPr>
            <p:nvPr/>
          </p:nvSpPr>
          <p:spPr bwMode="auto">
            <a:xfrm>
              <a:off x="15959089" y="2529788"/>
              <a:ext cx="1623750" cy="1458156"/>
            </a:xfrm>
            <a:custGeom>
              <a:avLst/>
              <a:gdLst>
                <a:gd name="T0" fmla="*/ 153 w 3459"/>
                <a:gd name="T1" fmla="*/ 1301 h 3103"/>
                <a:gd name="T2" fmla="*/ 98 w 3459"/>
                <a:gd name="T3" fmla="*/ 981 h 3103"/>
                <a:gd name="T4" fmla="*/ 56 w 3459"/>
                <a:gd name="T5" fmla="*/ 807 h 3103"/>
                <a:gd name="T6" fmla="*/ 63 w 3459"/>
                <a:gd name="T7" fmla="*/ 640 h 3103"/>
                <a:gd name="T8" fmla="*/ 279 w 3459"/>
                <a:gd name="T9" fmla="*/ 542 h 3103"/>
                <a:gd name="T10" fmla="*/ 550 w 3459"/>
                <a:gd name="T11" fmla="*/ 542 h 3103"/>
                <a:gd name="T12" fmla="*/ 661 w 3459"/>
                <a:gd name="T13" fmla="*/ 647 h 3103"/>
                <a:gd name="T14" fmla="*/ 1023 w 3459"/>
                <a:gd name="T15" fmla="*/ 703 h 3103"/>
                <a:gd name="T16" fmla="*/ 1134 w 3459"/>
                <a:gd name="T17" fmla="*/ 515 h 3103"/>
                <a:gd name="T18" fmla="*/ 1266 w 3459"/>
                <a:gd name="T19" fmla="*/ 341 h 3103"/>
                <a:gd name="T20" fmla="*/ 1413 w 3459"/>
                <a:gd name="T21" fmla="*/ 257 h 3103"/>
                <a:gd name="T22" fmla="*/ 1621 w 3459"/>
                <a:gd name="T23" fmla="*/ 223 h 3103"/>
                <a:gd name="T24" fmla="*/ 1788 w 3459"/>
                <a:gd name="T25" fmla="*/ 209 h 3103"/>
                <a:gd name="T26" fmla="*/ 2053 w 3459"/>
                <a:gd name="T27" fmla="*/ 174 h 3103"/>
                <a:gd name="T28" fmla="*/ 2282 w 3459"/>
                <a:gd name="T29" fmla="*/ 243 h 3103"/>
                <a:gd name="T30" fmla="*/ 2463 w 3459"/>
                <a:gd name="T31" fmla="*/ 174 h 3103"/>
                <a:gd name="T32" fmla="*/ 2755 w 3459"/>
                <a:gd name="T33" fmla="*/ 63 h 3103"/>
                <a:gd name="T34" fmla="*/ 2985 w 3459"/>
                <a:gd name="T35" fmla="*/ 0 h 3103"/>
                <a:gd name="T36" fmla="*/ 2922 w 3459"/>
                <a:gd name="T37" fmla="*/ 146 h 3103"/>
                <a:gd name="T38" fmla="*/ 2943 w 3459"/>
                <a:gd name="T39" fmla="*/ 341 h 3103"/>
                <a:gd name="T40" fmla="*/ 3103 w 3459"/>
                <a:gd name="T41" fmla="*/ 445 h 3103"/>
                <a:gd name="T42" fmla="*/ 3131 w 3459"/>
                <a:gd name="T43" fmla="*/ 654 h 3103"/>
                <a:gd name="T44" fmla="*/ 3409 w 3459"/>
                <a:gd name="T45" fmla="*/ 876 h 3103"/>
                <a:gd name="T46" fmla="*/ 3284 w 3459"/>
                <a:gd name="T47" fmla="*/ 974 h 3103"/>
                <a:gd name="T48" fmla="*/ 3152 w 3459"/>
                <a:gd name="T49" fmla="*/ 1030 h 3103"/>
                <a:gd name="T50" fmla="*/ 2978 w 3459"/>
                <a:gd name="T51" fmla="*/ 1064 h 3103"/>
                <a:gd name="T52" fmla="*/ 2888 w 3459"/>
                <a:gd name="T53" fmla="*/ 995 h 3103"/>
                <a:gd name="T54" fmla="*/ 2741 w 3459"/>
                <a:gd name="T55" fmla="*/ 1050 h 3103"/>
                <a:gd name="T56" fmla="*/ 2595 w 3459"/>
                <a:gd name="T57" fmla="*/ 1197 h 3103"/>
                <a:gd name="T58" fmla="*/ 2352 w 3459"/>
                <a:gd name="T59" fmla="*/ 1343 h 3103"/>
                <a:gd name="T60" fmla="*/ 2394 w 3459"/>
                <a:gd name="T61" fmla="*/ 1475 h 3103"/>
                <a:gd name="T62" fmla="*/ 2331 w 3459"/>
                <a:gd name="T63" fmla="*/ 1586 h 3103"/>
                <a:gd name="T64" fmla="*/ 2387 w 3459"/>
                <a:gd name="T65" fmla="*/ 1767 h 3103"/>
                <a:gd name="T66" fmla="*/ 2526 w 3459"/>
                <a:gd name="T67" fmla="*/ 1836 h 3103"/>
                <a:gd name="T68" fmla="*/ 2581 w 3459"/>
                <a:gd name="T69" fmla="*/ 2017 h 3103"/>
                <a:gd name="T70" fmla="*/ 2484 w 3459"/>
                <a:gd name="T71" fmla="*/ 2122 h 3103"/>
                <a:gd name="T72" fmla="*/ 2275 w 3459"/>
                <a:gd name="T73" fmla="*/ 2184 h 3103"/>
                <a:gd name="T74" fmla="*/ 2164 w 3459"/>
                <a:gd name="T75" fmla="*/ 2254 h 3103"/>
                <a:gd name="T76" fmla="*/ 2122 w 3459"/>
                <a:gd name="T77" fmla="*/ 2351 h 3103"/>
                <a:gd name="T78" fmla="*/ 2053 w 3459"/>
                <a:gd name="T79" fmla="*/ 2456 h 3103"/>
                <a:gd name="T80" fmla="*/ 1830 w 3459"/>
                <a:gd name="T81" fmla="*/ 2372 h 3103"/>
                <a:gd name="T82" fmla="*/ 1656 w 3459"/>
                <a:gd name="T83" fmla="*/ 2504 h 3103"/>
                <a:gd name="T84" fmla="*/ 1580 w 3459"/>
                <a:gd name="T85" fmla="*/ 2581 h 3103"/>
                <a:gd name="T86" fmla="*/ 1510 w 3459"/>
                <a:gd name="T87" fmla="*/ 2560 h 3103"/>
                <a:gd name="T88" fmla="*/ 1433 w 3459"/>
                <a:gd name="T89" fmla="*/ 2636 h 3103"/>
                <a:gd name="T90" fmla="*/ 1378 w 3459"/>
                <a:gd name="T91" fmla="*/ 2755 h 3103"/>
                <a:gd name="T92" fmla="*/ 1308 w 3459"/>
                <a:gd name="T93" fmla="*/ 2852 h 3103"/>
                <a:gd name="T94" fmla="*/ 1218 w 3459"/>
                <a:gd name="T95" fmla="*/ 3061 h 3103"/>
                <a:gd name="T96" fmla="*/ 1044 w 3459"/>
                <a:gd name="T97" fmla="*/ 3033 h 3103"/>
                <a:gd name="T98" fmla="*/ 974 w 3459"/>
                <a:gd name="T99" fmla="*/ 3047 h 3103"/>
                <a:gd name="T100" fmla="*/ 891 w 3459"/>
                <a:gd name="T101" fmla="*/ 3040 h 3103"/>
                <a:gd name="T102" fmla="*/ 814 w 3459"/>
                <a:gd name="T103" fmla="*/ 2838 h 3103"/>
                <a:gd name="T104" fmla="*/ 682 w 3459"/>
                <a:gd name="T105" fmla="*/ 2748 h 3103"/>
                <a:gd name="T106" fmla="*/ 522 w 3459"/>
                <a:gd name="T107" fmla="*/ 2741 h 3103"/>
                <a:gd name="T108" fmla="*/ 418 w 3459"/>
                <a:gd name="T109" fmla="*/ 2810 h 3103"/>
                <a:gd name="T110" fmla="*/ 237 w 3459"/>
                <a:gd name="T111" fmla="*/ 2810 h 3103"/>
                <a:gd name="T112" fmla="*/ 181 w 3459"/>
                <a:gd name="T113" fmla="*/ 2636 h 3103"/>
                <a:gd name="T114" fmla="*/ 181 w 3459"/>
                <a:gd name="T115" fmla="*/ 2518 h 3103"/>
                <a:gd name="T116" fmla="*/ 167 w 3459"/>
                <a:gd name="T117" fmla="*/ 2323 h 3103"/>
                <a:gd name="T118" fmla="*/ 293 w 3459"/>
                <a:gd name="T119" fmla="*/ 2031 h 3103"/>
                <a:gd name="T120" fmla="*/ 320 w 3459"/>
                <a:gd name="T121" fmla="*/ 1802 h 3103"/>
                <a:gd name="T122" fmla="*/ 237 w 3459"/>
                <a:gd name="T123" fmla="*/ 1607 h 3103"/>
                <a:gd name="T124" fmla="*/ 411 w 3459"/>
                <a:gd name="T125" fmla="*/ 1495 h 3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9" h="3103">
                  <a:moveTo>
                    <a:pt x="397" y="1405"/>
                  </a:moveTo>
                  <a:lnTo>
                    <a:pt x="355" y="1363"/>
                  </a:lnTo>
                  <a:lnTo>
                    <a:pt x="286" y="1329"/>
                  </a:lnTo>
                  <a:lnTo>
                    <a:pt x="237" y="1301"/>
                  </a:lnTo>
                  <a:lnTo>
                    <a:pt x="153" y="1301"/>
                  </a:lnTo>
                  <a:lnTo>
                    <a:pt x="119" y="1266"/>
                  </a:lnTo>
                  <a:lnTo>
                    <a:pt x="105" y="1224"/>
                  </a:lnTo>
                  <a:lnTo>
                    <a:pt x="153" y="1176"/>
                  </a:lnTo>
                  <a:lnTo>
                    <a:pt x="181" y="1043"/>
                  </a:lnTo>
                  <a:lnTo>
                    <a:pt x="98" y="981"/>
                  </a:lnTo>
                  <a:lnTo>
                    <a:pt x="35" y="995"/>
                  </a:lnTo>
                  <a:lnTo>
                    <a:pt x="21" y="918"/>
                  </a:lnTo>
                  <a:lnTo>
                    <a:pt x="0" y="876"/>
                  </a:lnTo>
                  <a:lnTo>
                    <a:pt x="49" y="842"/>
                  </a:lnTo>
                  <a:lnTo>
                    <a:pt x="56" y="807"/>
                  </a:lnTo>
                  <a:lnTo>
                    <a:pt x="28" y="772"/>
                  </a:lnTo>
                  <a:lnTo>
                    <a:pt x="91" y="737"/>
                  </a:lnTo>
                  <a:lnTo>
                    <a:pt x="98" y="737"/>
                  </a:lnTo>
                  <a:lnTo>
                    <a:pt x="70" y="668"/>
                  </a:lnTo>
                  <a:lnTo>
                    <a:pt x="63" y="640"/>
                  </a:lnTo>
                  <a:lnTo>
                    <a:pt x="105" y="619"/>
                  </a:lnTo>
                  <a:lnTo>
                    <a:pt x="147" y="508"/>
                  </a:lnTo>
                  <a:lnTo>
                    <a:pt x="223" y="536"/>
                  </a:lnTo>
                  <a:lnTo>
                    <a:pt x="279" y="522"/>
                  </a:lnTo>
                  <a:lnTo>
                    <a:pt x="279" y="542"/>
                  </a:lnTo>
                  <a:lnTo>
                    <a:pt x="397" y="487"/>
                  </a:lnTo>
                  <a:lnTo>
                    <a:pt x="453" y="473"/>
                  </a:lnTo>
                  <a:lnTo>
                    <a:pt x="515" y="494"/>
                  </a:lnTo>
                  <a:lnTo>
                    <a:pt x="522" y="522"/>
                  </a:lnTo>
                  <a:lnTo>
                    <a:pt x="550" y="542"/>
                  </a:lnTo>
                  <a:lnTo>
                    <a:pt x="626" y="584"/>
                  </a:lnTo>
                  <a:lnTo>
                    <a:pt x="564" y="640"/>
                  </a:lnTo>
                  <a:lnTo>
                    <a:pt x="564" y="654"/>
                  </a:lnTo>
                  <a:lnTo>
                    <a:pt x="640" y="654"/>
                  </a:lnTo>
                  <a:lnTo>
                    <a:pt x="661" y="647"/>
                  </a:lnTo>
                  <a:lnTo>
                    <a:pt x="724" y="689"/>
                  </a:lnTo>
                  <a:lnTo>
                    <a:pt x="752" y="682"/>
                  </a:lnTo>
                  <a:lnTo>
                    <a:pt x="835" y="716"/>
                  </a:lnTo>
                  <a:lnTo>
                    <a:pt x="912" y="689"/>
                  </a:lnTo>
                  <a:lnTo>
                    <a:pt x="1023" y="703"/>
                  </a:lnTo>
                  <a:lnTo>
                    <a:pt x="1037" y="703"/>
                  </a:lnTo>
                  <a:lnTo>
                    <a:pt x="1051" y="709"/>
                  </a:lnTo>
                  <a:lnTo>
                    <a:pt x="1100" y="619"/>
                  </a:lnTo>
                  <a:lnTo>
                    <a:pt x="1162" y="584"/>
                  </a:lnTo>
                  <a:lnTo>
                    <a:pt x="1134" y="515"/>
                  </a:lnTo>
                  <a:lnTo>
                    <a:pt x="1176" y="424"/>
                  </a:lnTo>
                  <a:lnTo>
                    <a:pt x="1183" y="382"/>
                  </a:lnTo>
                  <a:lnTo>
                    <a:pt x="1197" y="355"/>
                  </a:lnTo>
                  <a:lnTo>
                    <a:pt x="1218" y="348"/>
                  </a:lnTo>
                  <a:lnTo>
                    <a:pt x="1266" y="341"/>
                  </a:lnTo>
                  <a:lnTo>
                    <a:pt x="1294" y="313"/>
                  </a:lnTo>
                  <a:lnTo>
                    <a:pt x="1294" y="264"/>
                  </a:lnTo>
                  <a:lnTo>
                    <a:pt x="1350" y="257"/>
                  </a:lnTo>
                  <a:lnTo>
                    <a:pt x="1371" y="264"/>
                  </a:lnTo>
                  <a:lnTo>
                    <a:pt x="1413" y="257"/>
                  </a:lnTo>
                  <a:lnTo>
                    <a:pt x="1496" y="223"/>
                  </a:lnTo>
                  <a:lnTo>
                    <a:pt x="1531" y="223"/>
                  </a:lnTo>
                  <a:lnTo>
                    <a:pt x="1559" y="215"/>
                  </a:lnTo>
                  <a:lnTo>
                    <a:pt x="1580" y="215"/>
                  </a:lnTo>
                  <a:lnTo>
                    <a:pt x="1621" y="223"/>
                  </a:lnTo>
                  <a:lnTo>
                    <a:pt x="1656" y="257"/>
                  </a:lnTo>
                  <a:lnTo>
                    <a:pt x="1705" y="264"/>
                  </a:lnTo>
                  <a:lnTo>
                    <a:pt x="1754" y="243"/>
                  </a:lnTo>
                  <a:lnTo>
                    <a:pt x="1767" y="215"/>
                  </a:lnTo>
                  <a:lnTo>
                    <a:pt x="1788" y="209"/>
                  </a:lnTo>
                  <a:lnTo>
                    <a:pt x="1809" y="174"/>
                  </a:lnTo>
                  <a:lnTo>
                    <a:pt x="1872" y="195"/>
                  </a:lnTo>
                  <a:lnTo>
                    <a:pt x="1900" y="230"/>
                  </a:lnTo>
                  <a:lnTo>
                    <a:pt x="1983" y="188"/>
                  </a:lnTo>
                  <a:lnTo>
                    <a:pt x="2053" y="174"/>
                  </a:lnTo>
                  <a:lnTo>
                    <a:pt x="2115" y="215"/>
                  </a:lnTo>
                  <a:lnTo>
                    <a:pt x="2199" y="223"/>
                  </a:lnTo>
                  <a:lnTo>
                    <a:pt x="2227" y="257"/>
                  </a:lnTo>
                  <a:lnTo>
                    <a:pt x="2247" y="264"/>
                  </a:lnTo>
                  <a:lnTo>
                    <a:pt x="2282" y="243"/>
                  </a:lnTo>
                  <a:lnTo>
                    <a:pt x="2317" y="215"/>
                  </a:lnTo>
                  <a:lnTo>
                    <a:pt x="2352" y="215"/>
                  </a:lnTo>
                  <a:lnTo>
                    <a:pt x="2428" y="188"/>
                  </a:lnTo>
                  <a:lnTo>
                    <a:pt x="2449" y="160"/>
                  </a:lnTo>
                  <a:lnTo>
                    <a:pt x="2463" y="174"/>
                  </a:lnTo>
                  <a:lnTo>
                    <a:pt x="2561" y="111"/>
                  </a:lnTo>
                  <a:lnTo>
                    <a:pt x="2616" y="97"/>
                  </a:lnTo>
                  <a:lnTo>
                    <a:pt x="2672" y="90"/>
                  </a:lnTo>
                  <a:lnTo>
                    <a:pt x="2713" y="83"/>
                  </a:lnTo>
                  <a:lnTo>
                    <a:pt x="2755" y="63"/>
                  </a:lnTo>
                  <a:lnTo>
                    <a:pt x="2769" y="63"/>
                  </a:lnTo>
                  <a:lnTo>
                    <a:pt x="2790" y="63"/>
                  </a:lnTo>
                  <a:lnTo>
                    <a:pt x="2825" y="28"/>
                  </a:lnTo>
                  <a:lnTo>
                    <a:pt x="2874" y="28"/>
                  </a:lnTo>
                  <a:lnTo>
                    <a:pt x="2985" y="0"/>
                  </a:lnTo>
                  <a:lnTo>
                    <a:pt x="3040" y="21"/>
                  </a:lnTo>
                  <a:lnTo>
                    <a:pt x="3054" y="49"/>
                  </a:lnTo>
                  <a:lnTo>
                    <a:pt x="3013" y="76"/>
                  </a:lnTo>
                  <a:lnTo>
                    <a:pt x="3006" y="132"/>
                  </a:lnTo>
                  <a:lnTo>
                    <a:pt x="2922" y="146"/>
                  </a:lnTo>
                  <a:lnTo>
                    <a:pt x="2874" y="160"/>
                  </a:lnTo>
                  <a:lnTo>
                    <a:pt x="2867" y="181"/>
                  </a:lnTo>
                  <a:lnTo>
                    <a:pt x="2888" y="243"/>
                  </a:lnTo>
                  <a:lnTo>
                    <a:pt x="2888" y="292"/>
                  </a:lnTo>
                  <a:lnTo>
                    <a:pt x="2943" y="341"/>
                  </a:lnTo>
                  <a:lnTo>
                    <a:pt x="2908" y="382"/>
                  </a:lnTo>
                  <a:lnTo>
                    <a:pt x="2985" y="417"/>
                  </a:lnTo>
                  <a:lnTo>
                    <a:pt x="3020" y="480"/>
                  </a:lnTo>
                  <a:lnTo>
                    <a:pt x="3054" y="445"/>
                  </a:lnTo>
                  <a:lnTo>
                    <a:pt x="3103" y="445"/>
                  </a:lnTo>
                  <a:lnTo>
                    <a:pt x="3138" y="508"/>
                  </a:lnTo>
                  <a:lnTo>
                    <a:pt x="3166" y="542"/>
                  </a:lnTo>
                  <a:lnTo>
                    <a:pt x="3145" y="584"/>
                  </a:lnTo>
                  <a:lnTo>
                    <a:pt x="3138" y="619"/>
                  </a:lnTo>
                  <a:lnTo>
                    <a:pt x="3131" y="654"/>
                  </a:lnTo>
                  <a:lnTo>
                    <a:pt x="3145" y="675"/>
                  </a:lnTo>
                  <a:lnTo>
                    <a:pt x="3207" y="675"/>
                  </a:lnTo>
                  <a:lnTo>
                    <a:pt x="3249" y="703"/>
                  </a:lnTo>
                  <a:lnTo>
                    <a:pt x="3298" y="814"/>
                  </a:lnTo>
                  <a:lnTo>
                    <a:pt x="3409" y="876"/>
                  </a:lnTo>
                  <a:lnTo>
                    <a:pt x="3444" y="883"/>
                  </a:lnTo>
                  <a:lnTo>
                    <a:pt x="3458" y="897"/>
                  </a:lnTo>
                  <a:lnTo>
                    <a:pt x="3402" y="911"/>
                  </a:lnTo>
                  <a:lnTo>
                    <a:pt x="3340" y="967"/>
                  </a:lnTo>
                  <a:lnTo>
                    <a:pt x="3284" y="974"/>
                  </a:lnTo>
                  <a:lnTo>
                    <a:pt x="3305" y="1009"/>
                  </a:lnTo>
                  <a:lnTo>
                    <a:pt x="3263" y="1030"/>
                  </a:lnTo>
                  <a:lnTo>
                    <a:pt x="3228" y="1009"/>
                  </a:lnTo>
                  <a:lnTo>
                    <a:pt x="3180" y="1009"/>
                  </a:lnTo>
                  <a:lnTo>
                    <a:pt x="3152" y="1030"/>
                  </a:lnTo>
                  <a:lnTo>
                    <a:pt x="3075" y="1016"/>
                  </a:lnTo>
                  <a:lnTo>
                    <a:pt x="3054" y="1036"/>
                  </a:lnTo>
                  <a:lnTo>
                    <a:pt x="3034" y="1043"/>
                  </a:lnTo>
                  <a:lnTo>
                    <a:pt x="2978" y="1092"/>
                  </a:lnTo>
                  <a:lnTo>
                    <a:pt x="2978" y="1064"/>
                  </a:lnTo>
                  <a:lnTo>
                    <a:pt x="2985" y="1050"/>
                  </a:lnTo>
                  <a:lnTo>
                    <a:pt x="2971" y="1030"/>
                  </a:lnTo>
                  <a:lnTo>
                    <a:pt x="2943" y="1002"/>
                  </a:lnTo>
                  <a:lnTo>
                    <a:pt x="2901" y="1002"/>
                  </a:lnTo>
                  <a:lnTo>
                    <a:pt x="2888" y="995"/>
                  </a:lnTo>
                  <a:lnTo>
                    <a:pt x="2776" y="911"/>
                  </a:lnTo>
                  <a:lnTo>
                    <a:pt x="2776" y="939"/>
                  </a:lnTo>
                  <a:lnTo>
                    <a:pt x="2783" y="981"/>
                  </a:lnTo>
                  <a:lnTo>
                    <a:pt x="2769" y="1002"/>
                  </a:lnTo>
                  <a:lnTo>
                    <a:pt x="2741" y="1050"/>
                  </a:lnTo>
                  <a:lnTo>
                    <a:pt x="2741" y="1078"/>
                  </a:lnTo>
                  <a:lnTo>
                    <a:pt x="2686" y="1182"/>
                  </a:lnTo>
                  <a:lnTo>
                    <a:pt x="2651" y="1224"/>
                  </a:lnTo>
                  <a:lnTo>
                    <a:pt x="2644" y="1197"/>
                  </a:lnTo>
                  <a:lnTo>
                    <a:pt x="2595" y="1197"/>
                  </a:lnTo>
                  <a:lnTo>
                    <a:pt x="2574" y="1224"/>
                  </a:lnTo>
                  <a:lnTo>
                    <a:pt x="2526" y="1224"/>
                  </a:lnTo>
                  <a:lnTo>
                    <a:pt x="2380" y="1273"/>
                  </a:lnTo>
                  <a:lnTo>
                    <a:pt x="2359" y="1294"/>
                  </a:lnTo>
                  <a:lnTo>
                    <a:pt x="2352" y="1343"/>
                  </a:lnTo>
                  <a:lnTo>
                    <a:pt x="2421" y="1356"/>
                  </a:lnTo>
                  <a:lnTo>
                    <a:pt x="2477" y="1377"/>
                  </a:lnTo>
                  <a:lnTo>
                    <a:pt x="2456" y="1412"/>
                  </a:lnTo>
                  <a:lnTo>
                    <a:pt x="2414" y="1440"/>
                  </a:lnTo>
                  <a:lnTo>
                    <a:pt x="2394" y="1475"/>
                  </a:lnTo>
                  <a:lnTo>
                    <a:pt x="2407" y="1489"/>
                  </a:lnTo>
                  <a:lnTo>
                    <a:pt x="2387" y="1572"/>
                  </a:lnTo>
                  <a:lnTo>
                    <a:pt x="2366" y="1558"/>
                  </a:lnTo>
                  <a:lnTo>
                    <a:pt x="2359" y="1565"/>
                  </a:lnTo>
                  <a:lnTo>
                    <a:pt x="2331" y="1586"/>
                  </a:lnTo>
                  <a:lnTo>
                    <a:pt x="2289" y="1600"/>
                  </a:lnTo>
                  <a:lnTo>
                    <a:pt x="2331" y="1642"/>
                  </a:lnTo>
                  <a:lnTo>
                    <a:pt x="2387" y="1690"/>
                  </a:lnTo>
                  <a:lnTo>
                    <a:pt x="2407" y="1718"/>
                  </a:lnTo>
                  <a:lnTo>
                    <a:pt x="2387" y="1767"/>
                  </a:lnTo>
                  <a:lnTo>
                    <a:pt x="2394" y="1795"/>
                  </a:lnTo>
                  <a:lnTo>
                    <a:pt x="2442" y="1795"/>
                  </a:lnTo>
                  <a:lnTo>
                    <a:pt x="2477" y="1781"/>
                  </a:lnTo>
                  <a:lnTo>
                    <a:pt x="2491" y="1836"/>
                  </a:lnTo>
                  <a:lnTo>
                    <a:pt x="2526" y="1836"/>
                  </a:lnTo>
                  <a:lnTo>
                    <a:pt x="2546" y="1836"/>
                  </a:lnTo>
                  <a:lnTo>
                    <a:pt x="2519" y="1899"/>
                  </a:lnTo>
                  <a:lnTo>
                    <a:pt x="2574" y="1955"/>
                  </a:lnTo>
                  <a:lnTo>
                    <a:pt x="2595" y="1962"/>
                  </a:lnTo>
                  <a:lnTo>
                    <a:pt x="2581" y="2017"/>
                  </a:lnTo>
                  <a:lnTo>
                    <a:pt x="2546" y="2010"/>
                  </a:lnTo>
                  <a:lnTo>
                    <a:pt x="2526" y="2052"/>
                  </a:lnTo>
                  <a:lnTo>
                    <a:pt x="2505" y="2087"/>
                  </a:lnTo>
                  <a:lnTo>
                    <a:pt x="2512" y="2094"/>
                  </a:lnTo>
                  <a:lnTo>
                    <a:pt x="2484" y="2122"/>
                  </a:lnTo>
                  <a:lnTo>
                    <a:pt x="2407" y="2149"/>
                  </a:lnTo>
                  <a:lnTo>
                    <a:pt x="2380" y="2149"/>
                  </a:lnTo>
                  <a:lnTo>
                    <a:pt x="2359" y="2156"/>
                  </a:lnTo>
                  <a:lnTo>
                    <a:pt x="2289" y="2156"/>
                  </a:lnTo>
                  <a:lnTo>
                    <a:pt x="2275" y="2184"/>
                  </a:lnTo>
                  <a:lnTo>
                    <a:pt x="2254" y="2156"/>
                  </a:lnTo>
                  <a:lnTo>
                    <a:pt x="2233" y="2156"/>
                  </a:lnTo>
                  <a:lnTo>
                    <a:pt x="2164" y="2184"/>
                  </a:lnTo>
                  <a:lnTo>
                    <a:pt x="2136" y="2191"/>
                  </a:lnTo>
                  <a:lnTo>
                    <a:pt x="2164" y="2254"/>
                  </a:lnTo>
                  <a:lnTo>
                    <a:pt x="2185" y="2289"/>
                  </a:lnTo>
                  <a:lnTo>
                    <a:pt x="2157" y="2289"/>
                  </a:lnTo>
                  <a:lnTo>
                    <a:pt x="2115" y="2310"/>
                  </a:lnTo>
                  <a:lnTo>
                    <a:pt x="2136" y="2323"/>
                  </a:lnTo>
                  <a:lnTo>
                    <a:pt x="2122" y="2351"/>
                  </a:lnTo>
                  <a:lnTo>
                    <a:pt x="2150" y="2414"/>
                  </a:lnTo>
                  <a:lnTo>
                    <a:pt x="2136" y="2421"/>
                  </a:lnTo>
                  <a:lnTo>
                    <a:pt x="2150" y="2456"/>
                  </a:lnTo>
                  <a:lnTo>
                    <a:pt x="2053" y="2476"/>
                  </a:lnTo>
                  <a:lnTo>
                    <a:pt x="2053" y="2456"/>
                  </a:lnTo>
                  <a:lnTo>
                    <a:pt x="1983" y="2456"/>
                  </a:lnTo>
                  <a:lnTo>
                    <a:pt x="1969" y="2372"/>
                  </a:lnTo>
                  <a:lnTo>
                    <a:pt x="1921" y="2358"/>
                  </a:lnTo>
                  <a:lnTo>
                    <a:pt x="1858" y="2358"/>
                  </a:lnTo>
                  <a:lnTo>
                    <a:pt x="1830" y="2372"/>
                  </a:lnTo>
                  <a:lnTo>
                    <a:pt x="1802" y="2386"/>
                  </a:lnTo>
                  <a:lnTo>
                    <a:pt x="1760" y="2428"/>
                  </a:lnTo>
                  <a:lnTo>
                    <a:pt x="1635" y="2421"/>
                  </a:lnTo>
                  <a:lnTo>
                    <a:pt x="1656" y="2490"/>
                  </a:lnTo>
                  <a:lnTo>
                    <a:pt x="1656" y="2504"/>
                  </a:lnTo>
                  <a:lnTo>
                    <a:pt x="1608" y="2511"/>
                  </a:lnTo>
                  <a:lnTo>
                    <a:pt x="1608" y="2546"/>
                  </a:lnTo>
                  <a:lnTo>
                    <a:pt x="1593" y="2553"/>
                  </a:lnTo>
                  <a:lnTo>
                    <a:pt x="1593" y="2581"/>
                  </a:lnTo>
                  <a:lnTo>
                    <a:pt x="1580" y="2581"/>
                  </a:lnTo>
                  <a:lnTo>
                    <a:pt x="1559" y="2574"/>
                  </a:lnTo>
                  <a:lnTo>
                    <a:pt x="1531" y="2539"/>
                  </a:lnTo>
                  <a:lnTo>
                    <a:pt x="1524" y="2546"/>
                  </a:lnTo>
                  <a:lnTo>
                    <a:pt x="1510" y="2525"/>
                  </a:lnTo>
                  <a:lnTo>
                    <a:pt x="1510" y="2560"/>
                  </a:lnTo>
                  <a:lnTo>
                    <a:pt x="1461" y="2574"/>
                  </a:lnTo>
                  <a:lnTo>
                    <a:pt x="1441" y="2560"/>
                  </a:lnTo>
                  <a:lnTo>
                    <a:pt x="1447" y="2574"/>
                  </a:lnTo>
                  <a:lnTo>
                    <a:pt x="1433" y="2608"/>
                  </a:lnTo>
                  <a:lnTo>
                    <a:pt x="1433" y="2636"/>
                  </a:lnTo>
                  <a:lnTo>
                    <a:pt x="1406" y="2650"/>
                  </a:lnTo>
                  <a:lnTo>
                    <a:pt x="1413" y="2657"/>
                  </a:lnTo>
                  <a:lnTo>
                    <a:pt x="1413" y="2685"/>
                  </a:lnTo>
                  <a:lnTo>
                    <a:pt x="1378" y="2720"/>
                  </a:lnTo>
                  <a:lnTo>
                    <a:pt x="1378" y="2755"/>
                  </a:lnTo>
                  <a:lnTo>
                    <a:pt x="1343" y="2775"/>
                  </a:lnTo>
                  <a:lnTo>
                    <a:pt x="1336" y="2789"/>
                  </a:lnTo>
                  <a:lnTo>
                    <a:pt x="1343" y="2838"/>
                  </a:lnTo>
                  <a:lnTo>
                    <a:pt x="1350" y="2866"/>
                  </a:lnTo>
                  <a:lnTo>
                    <a:pt x="1308" y="2852"/>
                  </a:lnTo>
                  <a:lnTo>
                    <a:pt x="1308" y="2880"/>
                  </a:lnTo>
                  <a:lnTo>
                    <a:pt x="1301" y="2977"/>
                  </a:lnTo>
                  <a:lnTo>
                    <a:pt x="1253" y="3012"/>
                  </a:lnTo>
                  <a:lnTo>
                    <a:pt x="1246" y="3047"/>
                  </a:lnTo>
                  <a:lnTo>
                    <a:pt x="1218" y="3061"/>
                  </a:lnTo>
                  <a:lnTo>
                    <a:pt x="1197" y="3061"/>
                  </a:lnTo>
                  <a:lnTo>
                    <a:pt x="1176" y="3061"/>
                  </a:lnTo>
                  <a:lnTo>
                    <a:pt x="1114" y="3005"/>
                  </a:lnTo>
                  <a:lnTo>
                    <a:pt x="1086" y="3033"/>
                  </a:lnTo>
                  <a:lnTo>
                    <a:pt x="1044" y="3033"/>
                  </a:lnTo>
                  <a:lnTo>
                    <a:pt x="1044" y="3005"/>
                  </a:lnTo>
                  <a:lnTo>
                    <a:pt x="1016" y="3033"/>
                  </a:lnTo>
                  <a:lnTo>
                    <a:pt x="1016" y="3040"/>
                  </a:lnTo>
                  <a:lnTo>
                    <a:pt x="968" y="3082"/>
                  </a:lnTo>
                  <a:lnTo>
                    <a:pt x="974" y="3047"/>
                  </a:lnTo>
                  <a:lnTo>
                    <a:pt x="953" y="3075"/>
                  </a:lnTo>
                  <a:lnTo>
                    <a:pt x="947" y="3075"/>
                  </a:lnTo>
                  <a:lnTo>
                    <a:pt x="919" y="3102"/>
                  </a:lnTo>
                  <a:lnTo>
                    <a:pt x="877" y="3068"/>
                  </a:lnTo>
                  <a:lnTo>
                    <a:pt x="891" y="3040"/>
                  </a:lnTo>
                  <a:lnTo>
                    <a:pt x="814" y="3005"/>
                  </a:lnTo>
                  <a:lnTo>
                    <a:pt x="759" y="3005"/>
                  </a:lnTo>
                  <a:lnTo>
                    <a:pt x="793" y="2922"/>
                  </a:lnTo>
                  <a:lnTo>
                    <a:pt x="835" y="2873"/>
                  </a:lnTo>
                  <a:lnTo>
                    <a:pt x="814" y="2838"/>
                  </a:lnTo>
                  <a:lnTo>
                    <a:pt x="821" y="2810"/>
                  </a:lnTo>
                  <a:lnTo>
                    <a:pt x="835" y="2803"/>
                  </a:lnTo>
                  <a:lnTo>
                    <a:pt x="759" y="2755"/>
                  </a:lnTo>
                  <a:lnTo>
                    <a:pt x="724" y="2741"/>
                  </a:lnTo>
                  <a:lnTo>
                    <a:pt x="682" y="2748"/>
                  </a:lnTo>
                  <a:lnTo>
                    <a:pt x="640" y="2734"/>
                  </a:lnTo>
                  <a:lnTo>
                    <a:pt x="613" y="2755"/>
                  </a:lnTo>
                  <a:lnTo>
                    <a:pt x="606" y="2741"/>
                  </a:lnTo>
                  <a:lnTo>
                    <a:pt x="550" y="2741"/>
                  </a:lnTo>
                  <a:lnTo>
                    <a:pt x="522" y="2741"/>
                  </a:lnTo>
                  <a:lnTo>
                    <a:pt x="508" y="2748"/>
                  </a:lnTo>
                  <a:lnTo>
                    <a:pt x="460" y="2755"/>
                  </a:lnTo>
                  <a:lnTo>
                    <a:pt x="453" y="2769"/>
                  </a:lnTo>
                  <a:lnTo>
                    <a:pt x="425" y="2817"/>
                  </a:lnTo>
                  <a:lnTo>
                    <a:pt x="418" y="2810"/>
                  </a:lnTo>
                  <a:lnTo>
                    <a:pt x="355" y="2831"/>
                  </a:lnTo>
                  <a:lnTo>
                    <a:pt x="327" y="2845"/>
                  </a:lnTo>
                  <a:lnTo>
                    <a:pt x="265" y="2866"/>
                  </a:lnTo>
                  <a:lnTo>
                    <a:pt x="258" y="2852"/>
                  </a:lnTo>
                  <a:lnTo>
                    <a:pt x="237" y="2810"/>
                  </a:lnTo>
                  <a:lnTo>
                    <a:pt x="265" y="2789"/>
                  </a:lnTo>
                  <a:lnTo>
                    <a:pt x="230" y="2775"/>
                  </a:lnTo>
                  <a:lnTo>
                    <a:pt x="195" y="2769"/>
                  </a:lnTo>
                  <a:lnTo>
                    <a:pt x="195" y="2657"/>
                  </a:lnTo>
                  <a:lnTo>
                    <a:pt x="181" y="2636"/>
                  </a:lnTo>
                  <a:lnTo>
                    <a:pt x="195" y="2616"/>
                  </a:lnTo>
                  <a:lnTo>
                    <a:pt x="202" y="2602"/>
                  </a:lnTo>
                  <a:lnTo>
                    <a:pt x="195" y="2553"/>
                  </a:lnTo>
                  <a:lnTo>
                    <a:pt x="181" y="2539"/>
                  </a:lnTo>
                  <a:lnTo>
                    <a:pt x="181" y="2518"/>
                  </a:lnTo>
                  <a:lnTo>
                    <a:pt x="167" y="2456"/>
                  </a:lnTo>
                  <a:lnTo>
                    <a:pt x="105" y="2442"/>
                  </a:lnTo>
                  <a:lnTo>
                    <a:pt x="126" y="2393"/>
                  </a:lnTo>
                  <a:lnTo>
                    <a:pt x="153" y="2344"/>
                  </a:lnTo>
                  <a:lnTo>
                    <a:pt x="167" y="2323"/>
                  </a:lnTo>
                  <a:lnTo>
                    <a:pt x="167" y="2261"/>
                  </a:lnTo>
                  <a:lnTo>
                    <a:pt x="202" y="2226"/>
                  </a:lnTo>
                  <a:lnTo>
                    <a:pt x="258" y="2177"/>
                  </a:lnTo>
                  <a:lnTo>
                    <a:pt x="286" y="2066"/>
                  </a:lnTo>
                  <a:lnTo>
                    <a:pt x="293" y="2031"/>
                  </a:lnTo>
                  <a:lnTo>
                    <a:pt x="265" y="1983"/>
                  </a:lnTo>
                  <a:lnTo>
                    <a:pt x="313" y="1899"/>
                  </a:lnTo>
                  <a:lnTo>
                    <a:pt x="313" y="1892"/>
                  </a:lnTo>
                  <a:lnTo>
                    <a:pt x="327" y="1857"/>
                  </a:lnTo>
                  <a:lnTo>
                    <a:pt x="320" y="1802"/>
                  </a:lnTo>
                  <a:lnTo>
                    <a:pt x="293" y="1767"/>
                  </a:lnTo>
                  <a:lnTo>
                    <a:pt x="320" y="1732"/>
                  </a:lnTo>
                  <a:lnTo>
                    <a:pt x="300" y="1683"/>
                  </a:lnTo>
                  <a:lnTo>
                    <a:pt x="223" y="1635"/>
                  </a:lnTo>
                  <a:lnTo>
                    <a:pt x="237" y="1607"/>
                  </a:lnTo>
                  <a:lnTo>
                    <a:pt x="265" y="1600"/>
                  </a:lnTo>
                  <a:lnTo>
                    <a:pt x="265" y="1586"/>
                  </a:lnTo>
                  <a:lnTo>
                    <a:pt x="313" y="1565"/>
                  </a:lnTo>
                  <a:lnTo>
                    <a:pt x="376" y="1558"/>
                  </a:lnTo>
                  <a:lnTo>
                    <a:pt x="411" y="1495"/>
                  </a:lnTo>
                  <a:lnTo>
                    <a:pt x="390" y="1461"/>
                  </a:lnTo>
                  <a:lnTo>
                    <a:pt x="397" y="140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0" name="Freeform 109"/>
            <p:cNvSpPr>
              <a:spLocks noChangeArrowheads="1"/>
            </p:cNvSpPr>
            <p:nvPr/>
          </p:nvSpPr>
          <p:spPr bwMode="auto">
            <a:xfrm>
              <a:off x="14505171" y="2999961"/>
              <a:ext cx="2263722" cy="2009107"/>
            </a:xfrm>
            <a:custGeom>
              <a:avLst/>
              <a:gdLst>
                <a:gd name="T0" fmla="*/ 4619 w 4822"/>
                <a:gd name="T1" fmla="*/ 3666 h 4279"/>
                <a:gd name="T2" fmla="*/ 4229 w 4822"/>
                <a:gd name="T3" fmla="*/ 3666 h 4279"/>
                <a:gd name="T4" fmla="*/ 3909 w 4822"/>
                <a:gd name="T5" fmla="*/ 3749 h 4279"/>
                <a:gd name="T6" fmla="*/ 3652 w 4822"/>
                <a:gd name="T7" fmla="*/ 3603 h 4279"/>
                <a:gd name="T8" fmla="*/ 3297 w 4822"/>
                <a:gd name="T9" fmla="*/ 3749 h 4279"/>
                <a:gd name="T10" fmla="*/ 2901 w 4822"/>
                <a:gd name="T11" fmla="*/ 3568 h 4279"/>
                <a:gd name="T12" fmla="*/ 2546 w 4822"/>
                <a:gd name="T13" fmla="*/ 3471 h 4279"/>
                <a:gd name="T14" fmla="*/ 2344 w 4822"/>
                <a:gd name="T15" fmla="*/ 3290 h 4279"/>
                <a:gd name="T16" fmla="*/ 2108 w 4822"/>
                <a:gd name="T17" fmla="*/ 3380 h 4279"/>
                <a:gd name="T18" fmla="*/ 1857 w 4822"/>
                <a:gd name="T19" fmla="*/ 3290 h 4279"/>
                <a:gd name="T20" fmla="*/ 1649 w 4822"/>
                <a:gd name="T21" fmla="*/ 3353 h 4279"/>
                <a:gd name="T22" fmla="*/ 1391 w 4822"/>
                <a:gd name="T23" fmla="*/ 3582 h 4279"/>
                <a:gd name="T24" fmla="*/ 1280 w 4822"/>
                <a:gd name="T25" fmla="*/ 3812 h 4279"/>
                <a:gd name="T26" fmla="*/ 1294 w 4822"/>
                <a:gd name="T27" fmla="*/ 4076 h 4279"/>
                <a:gd name="T28" fmla="*/ 1217 w 4822"/>
                <a:gd name="T29" fmla="*/ 4271 h 4279"/>
                <a:gd name="T30" fmla="*/ 981 w 4822"/>
                <a:gd name="T31" fmla="*/ 3972 h 4279"/>
                <a:gd name="T32" fmla="*/ 807 w 4822"/>
                <a:gd name="T33" fmla="*/ 3756 h 4279"/>
                <a:gd name="T34" fmla="*/ 654 w 4822"/>
                <a:gd name="T35" fmla="*/ 3492 h 4279"/>
                <a:gd name="T36" fmla="*/ 515 w 4822"/>
                <a:gd name="T37" fmla="*/ 3478 h 4279"/>
                <a:gd name="T38" fmla="*/ 403 w 4822"/>
                <a:gd name="T39" fmla="*/ 3526 h 4279"/>
                <a:gd name="T40" fmla="*/ 215 w 4822"/>
                <a:gd name="T41" fmla="*/ 3387 h 4279"/>
                <a:gd name="T42" fmla="*/ 69 w 4822"/>
                <a:gd name="T43" fmla="*/ 3179 h 4279"/>
                <a:gd name="T44" fmla="*/ 48 w 4822"/>
                <a:gd name="T45" fmla="*/ 3053 h 4279"/>
                <a:gd name="T46" fmla="*/ 0 w 4822"/>
                <a:gd name="T47" fmla="*/ 2928 h 4279"/>
                <a:gd name="T48" fmla="*/ 250 w 4822"/>
                <a:gd name="T49" fmla="*/ 2866 h 4279"/>
                <a:gd name="T50" fmla="*/ 431 w 4822"/>
                <a:gd name="T51" fmla="*/ 2796 h 4279"/>
                <a:gd name="T52" fmla="*/ 556 w 4822"/>
                <a:gd name="T53" fmla="*/ 2699 h 4279"/>
                <a:gd name="T54" fmla="*/ 445 w 4822"/>
                <a:gd name="T55" fmla="*/ 2518 h 4279"/>
                <a:gd name="T56" fmla="*/ 313 w 4822"/>
                <a:gd name="T57" fmla="*/ 2240 h 4279"/>
                <a:gd name="T58" fmla="*/ 229 w 4822"/>
                <a:gd name="T59" fmla="*/ 2066 h 4279"/>
                <a:gd name="T60" fmla="*/ 146 w 4822"/>
                <a:gd name="T61" fmla="*/ 1732 h 4279"/>
                <a:gd name="T62" fmla="*/ 368 w 4822"/>
                <a:gd name="T63" fmla="*/ 1314 h 4279"/>
                <a:gd name="T64" fmla="*/ 570 w 4822"/>
                <a:gd name="T65" fmla="*/ 1217 h 4279"/>
                <a:gd name="T66" fmla="*/ 626 w 4822"/>
                <a:gd name="T67" fmla="*/ 1481 h 4279"/>
                <a:gd name="T68" fmla="*/ 744 w 4822"/>
                <a:gd name="T69" fmla="*/ 1732 h 4279"/>
                <a:gd name="T70" fmla="*/ 939 w 4822"/>
                <a:gd name="T71" fmla="*/ 1641 h 4279"/>
                <a:gd name="T72" fmla="*/ 862 w 4822"/>
                <a:gd name="T73" fmla="*/ 1405 h 4279"/>
                <a:gd name="T74" fmla="*/ 1148 w 4822"/>
                <a:gd name="T75" fmla="*/ 981 h 4279"/>
                <a:gd name="T76" fmla="*/ 1287 w 4822"/>
                <a:gd name="T77" fmla="*/ 535 h 4279"/>
                <a:gd name="T78" fmla="*/ 1488 w 4822"/>
                <a:gd name="T79" fmla="*/ 361 h 4279"/>
                <a:gd name="T80" fmla="*/ 1718 w 4822"/>
                <a:gd name="T81" fmla="*/ 723 h 4279"/>
                <a:gd name="T82" fmla="*/ 2170 w 4822"/>
                <a:gd name="T83" fmla="*/ 619 h 4279"/>
                <a:gd name="T84" fmla="*/ 2462 w 4822"/>
                <a:gd name="T85" fmla="*/ 765 h 4279"/>
                <a:gd name="T86" fmla="*/ 2692 w 4822"/>
                <a:gd name="T87" fmla="*/ 716 h 4279"/>
                <a:gd name="T88" fmla="*/ 2629 w 4822"/>
                <a:gd name="T89" fmla="*/ 466 h 4279"/>
                <a:gd name="T90" fmla="*/ 2629 w 4822"/>
                <a:gd name="T91" fmla="*/ 48 h 4279"/>
                <a:gd name="T92" fmla="*/ 3012 w 4822"/>
                <a:gd name="T93" fmla="*/ 180 h 4279"/>
                <a:gd name="T94" fmla="*/ 3450 w 4822"/>
                <a:gd name="T95" fmla="*/ 361 h 4279"/>
                <a:gd name="T96" fmla="*/ 3415 w 4822"/>
                <a:gd name="T97" fmla="*/ 730 h 4279"/>
                <a:gd name="T98" fmla="*/ 3262 w 4822"/>
                <a:gd name="T99" fmla="*/ 1259 h 4279"/>
                <a:gd name="T100" fmla="*/ 3276 w 4822"/>
                <a:gd name="T101" fmla="*/ 1634 h 4279"/>
                <a:gd name="T102" fmla="*/ 3520 w 4822"/>
                <a:gd name="T103" fmla="*/ 1815 h 4279"/>
                <a:gd name="T104" fmla="*/ 3854 w 4822"/>
                <a:gd name="T105" fmla="*/ 1753 h 4279"/>
                <a:gd name="T106" fmla="*/ 3520 w 4822"/>
                <a:gd name="T107" fmla="*/ 2601 h 4279"/>
                <a:gd name="T108" fmla="*/ 3638 w 4822"/>
                <a:gd name="T109" fmla="*/ 2768 h 4279"/>
                <a:gd name="T110" fmla="*/ 3847 w 4822"/>
                <a:gd name="T111" fmla="*/ 2984 h 4279"/>
                <a:gd name="T112" fmla="*/ 4104 w 4822"/>
                <a:gd name="T113" fmla="*/ 3241 h 4279"/>
                <a:gd name="T114" fmla="*/ 4327 w 4822"/>
                <a:gd name="T115" fmla="*/ 3353 h 4279"/>
                <a:gd name="T116" fmla="*/ 4494 w 4822"/>
                <a:gd name="T117" fmla="*/ 3478 h 4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22" h="4279">
                  <a:moveTo>
                    <a:pt x="4654" y="3582"/>
                  </a:moveTo>
                  <a:lnTo>
                    <a:pt x="4751" y="3638"/>
                  </a:lnTo>
                  <a:lnTo>
                    <a:pt x="4793" y="3645"/>
                  </a:lnTo>
                  <a:lnTo>
                    <a:pt x="4821" y="3673"/>
                  </a:lnTo>
                  <a:lnTo>
                    <a:pt x="4814" y="3687"/>
                  </a:lnTo>
                  <a:lnTo>
                    <a:pt x="4765" y="3680"/>
                  </a:lnTo>
                  <a:lnTo>
                    <a:pt x="4730" y="3673"/>
                  </a:lnTo>
                  <a:lnTo>
                    <a:pt x="4703" y="3687"/>
                  </a:lnTo>
                  <a:lnTo>
                    <a:pt x="4654" y="3666"/>
                  </a:lnTo>
                  <a:lnTo>
                    <a:pt x="4626" y="3673"/>
                  </a:lnTo>
                  <a:lnTo>
                    <a:pt x="4619" y="3666"/>
                  </a:lnTo>
                  <a:lnTo>
                    <a:pt x="4619" y="3673"/>
                  </a:lnTo>
                  <a:lnTo>
                    <a:pt x="4577" y="3673"/>
                  </a:lnTo>
                  <a:lnTo>
                    <a:pt x="4563" y="3707"/>
                  </a:lnTo>
                  <a:lnTo>
                    <a:pt x="4522" y="3687"/>
                  </a:lnTo>
                  <a:lnTo>
                    <a:pt x="4466" y="3707"/>
                  </a:lnTo>
                  <a:lnTo>
                    <a:pt x="4445" y="3707"/>
                  </a:lnTo>
                  <a:lnTo>
                    <a:pt x="4375" y="3707"/>
                  </a:lnTo>
                  <a:lnTo>
                    <a:pt x="4361" y="3721"/>
                  </a:lnTo>
                  <a:lnTo>
                    <a:pt x="4313" y="3687"/>
                  </a:lnTo>
                  <a:lnTo>
                    <a:pt x="4264" y="3666"/>
                  </a:lnTo>
                  <a:lnTo>
                    <a:pt x="4229" y="3666"/>
                  </a:lnTo>
                  <a:lnTo>
                    <a:pt x="4209" y="3687"/>
                  </a:lnTo>
                  <a:lnTo>
                    <a:pt x="4160" y="3680"/>
                  </a:lnTo>
                  <a:lnTo>
                    <a:pt x="4118" y="3673"/>
                  </a:lnTo>
                  <a:lnTo>
                    <a:pt x="4076" y="3707"/>
                  </a:lnTo>
                  <a:lnTo>
                    <a:pt x="4035" y="3721"/>
                  </a:lnTo>
                  <a:lnTo>
                    <a:pt x="4028" y="3742"/>
                  </a:lnTo>
                  <a:lnTo>
                    <a:pt x="3972" y="3742"/>
                  </a:lnTo>
                  <a:lnTo>
                    <a:pt x="3930" y="3770"/>
                  </a:lnTo>
                  <a:lnTo>
                    <a:pt x="3944" y="3749"/>
                  </a:lnTo>
                  <a:lnTo>
                    <a:pt x="3909" y="3756"/>
                  </a:lnTo>
                  <a:lnTo>
                    <a:pt x="3909" y="3749"/>
                  </a:lnTo>
                  <a:lnTo>
                    <a:pt x="3902" y="3749"/>
                  </a:lnTo>
                  <a:lnTo>
                    <a:pt x="3888" y="3735"/>
                  </a:lnTo>
                  <a:lnTo>
                    <a:pt x="3854" y="3735"/>
                  </a:lnTo>
                  <a:lnTo>
                    <a:pt x="3819" y="3714"/>
                  </a:lnTo>
                  <a:lnTo>
                    <a:pt x="3798" y="3721"/>
                  </a:lnTo>
                  <a:lnTo>
                    <a:pt x="3784" y="3714"/>
                  </a:lnTo>
                  <a:lnTo>
                    <a:pt x="3735" y="3707"/>
                  </a:lnTo>
                  <a:lnTo>
                    <a:pt x="3687" y="3680"/>
                  </a:lnTo>
                  <a:lnTo>
                    <a:pt x="3701" y="3666"/>
                  </a:lnTo>
                  <a:lnTo>
                    <a:pt x="3673" y="3603"/>
                  </a:lnTo>
                  <a:lnTo>
                    <a:pt x="3652" y="3603"/>
                  </a:lnTo>
                  <a:lnTo>
                    <a:pt x="3638" y="3624"/>
                  </a:lnTo>
                  <a:lnTo>
                    <a:pt x="3610" y="3666"/>
                  </a:lnTo>
                  <a:lnTo>
                    <a:pt x="3610" y="3645"/>
                  </a:lnTo>
                  <a:lnTo>
                    <a:pt x="3589" y="3610"/>
                  </a:lnTo>
                  <a:lnTo>
                    <a:pt x="3527" y="3687"/>
                  </a:lnTo>
                  <a:lnTo>
                    <a:pt x="3506" y="3735"/>
                  </a:lnTo>
                  <a:lnTo>
                    <a:pt x="3478" y="3749"/>
                  </a:lnTo>
                  <a:lnTo>
                    <a:pt x="3443" y="3770"/>
                  </a:lnTo>
                  <a:lnTo>
                    <a:pt x="3422" y="3770"/>
                  </a:lnTo>
                  <a:lnTo>
                    <a:pt x="3332" y="3770"/>
                  </a:lnTo>
                  <a:lnTo>
                    <a:pt x="3297" y="3749"/>
                  </a:lnTo>
                  <a:lnTo>
                    <a:pt x="3228" y="3714"/>
                  </a:lnTo>
                  <a:lnTo>
                    <a:pt x="3193" y="3707"/>
                  </a:lnTo>
                  <a:lnTo>
                    <a:pt x="3165" y="3666"/>
                  </a:lnTo>
                  <a:lnTo>
                    <a:pt x="3151" y="3624"/>
                  </a:lnTo>
                  <a:lnTo>
                    <a:pt x="3116" y="3610"/>
                  </a:lnTo>
                  <a:lnTo>
                    <a:pt x="3054" y="3652"/>
                  </a:lnTo>
                  <a:lnTo>
                    <a:pt x="2991" y="3610"/>
                  </a:lnTo>
                  <a:lnTo>
                    <a:pt x="2970" y="3610"/>
                  </a:lnTo>
                  <a:lnTo>
                    <a:pt x="2963" y="3589"/>
                  </a:lnTo>
                  <a:lnTo>
                    <a:pt x="2914" y="3575"/>
                  </a:lnTo>
                  <a:lnTo>
                    <a:pt x="2901" y="3568"/>
                  </a:lnTo>
                  <a:lnTo>
                    <a:pt x="2866" y="3526"/>
                  </a:lnTo>
                  <a:lnTo>
                    <a:pt x="2817" y="3506"/>
                  </a:lnTo>
                  <a:lnTo>
                    <a:pt x="2762" y="3513"/>
                  </a:lnTo>
                  <a:lnTo>
                    <a:pt x="2741" y="3485"/>
                  </a:lnTo>
                  <a:lnTo>
                    <a:pt x="2720" y="3485"/>
                  </a:lnTo>
                  <a:lnTo>
                    <a:pt x="2685" y="3513"/>
                  </a:lnTo>
                  <a:lnTo>
                    <a:pt x="2664" y="3520"/>
                  </a:lnTo>
                  <a:lnTo>
                    <a:pt x="2622" y="3520"/>
                  </a:lnTo>
                  <a:lnTo>
                    <a:pt x="2602" y="3478"/>
                  </a:lnTo>
                  <a:lnTo>
                    <a:pt x="2546" y="3485"/>
                  </a:lnTo>
                  <a:lnTo>
                    <a:pt x="2546" y="3471"/>
                  </a:lnTo>
                  <a:lnTo>
                    <a:pt x="2532" y="3436"/>
                  </a:lnTo>
                  <a:lnTo>
                    <a:pt x="2504" y="3422"/>
                  </a:lnTo>
                  <a:lnTo>
                    <a:pt x="2511" y="3387"/>
                  </a:lnTo>
                  <a:lnTo>
                    <a:pt x="2497" y="3346"/>
                  </a:lnTo>
                  <a:lnTo>
                    <a:pt x="2441" y="3290"/>
                  </a:lnTo>
                  <a:lnTo>
                    <a:pt x="2414" y="3290"/>
                  </a:lnTo>
                  <a:lnTo>
                    <a:pt x="2414" y="3297"/>
                  </a:lnTo>
                  <a:lnTo>
                    <a:pt x="2372" y="3339"/>
                  </a:lnTo>
                  <a:lnTo>
                    <a:pt x="2330" y="3360"/>
                  </a:lnTo>
                  <a:lnTo>
                    <a:pt x="2337" y="3339"/>
                  </a:lnTo>
                  <a:lnTo>
                    <a:pt x="2344" y="3290"/>
                  </a:lnTo>
                  <a:lnTo>
                    <a:pt x="2309" y="3276"/>
                  </a:lnTo>
                  <a:lnTo>
                    <a:pt x="2281" y="3290"/>
                  </a:lnTo>
                  <a:lnTo>
                    <a:pt x="2261" y="3318"/>
                  </a:lnTo>
                  <a:lnTo>
                    <a:pt x="2302" y="3380"/>
                  </a:lnTo>
                  <a:lnTo>
                    <a:pt x="2274" y="3415"/>
                  </a:lnTo>
                  <a:lnTo>
                    <a:pt x="2212" y="3360"/>
                  </a:lnTo>
                  <a:lnTo>
                    <a:pt x="2205" y="3360"/>
                  </a:lnTo>
                  <a:lnTo>
                    <a:pt x="2184" y="3408"/>
                  </a:lnTo>
                  <a:lnTo>
                    <a:pt x="2177" y="3450"/>
                  </a:lnTo>
                  <a:lnTo>
                    <a:pt x="2170" y="3415"/>
                  </a:lnTo>
                  <a:lnTo>
                    <a:pt x="2108" y="3380"/>
                  </a:lnTo>
                  <a:lnTo>
                    <a:pt x="2073" y="3339"/>
                  </a:lnTo>
                  <a:lnTo>
                    <a:pt x="2066" y="3325"/>
                  </a:lnTo>
                  <a:lnTo>
                    <a:pt x="2052" y="3339"/>
                  </a:lnTo>
                  <a:lnTo>
                    <a:pt x="2045" y="3346"/>
                  </a:lnTo>
                  <a:lnTo>
                    <a:pt x="2073" y="3380"/>
                  </a:lnTo>
                  <a:lnTo>
                    <a:pt x="2003" y="3443"/>
                  </a:lnTo>
                  <a:lnTo>
                    <a:pt x="1920" y="3408"/>
                  </a:lnTo>
                  <a:lnTo>
                    <a:pt x="1857" y="3387"/>
                  </a:lnTo>
                  <a:lnTo>
                    <a:pt x="1871" y="3346"/>
                  </a:lnTo>
                  <a:lnTo>
                    <a:pt x="1871" y="3297"/>
                  </a:lnTo>
                  <a:lnTo>
                    <a:pt x="1857" y="3290"/>
                  </a:lnTo>
                  <a:lnTo>
                    <a:pt x="1836" y="3283"/>
                  </a:lnTo>
                  <a:lnTo>
                    <a:pt x="1822" y="3339"/>
                  </a:lnTo>
                  <a:lnTo>
                    <a:pt x="1760" y="3353"/>
                  </a:lnTo>
                  <a:lnTo>
                    <a:pt x="1725" y="3290"/>
                  </a:lnTo>
                  <a:lnTo>
                    <a:pt x="1711" y="3290"/>
                  </a:lnTo>
                  <a:lnTo>
                    <a:pt x="1704" y="3297"/>
                  </a:lnTo>
                  <a:lnTo>
                    <a:pt x="1704" y="3311"/>
                  </a:lnTo>
                  <a:lnTo>
                    <a:pt x="1725" y="3374"/>
                  </a:lnTo>
                  <a:lnTo>
                    <a:pt x="1690" y="3408"/>
                  </a:lnTo>
                  <a:lnTo>
                    <a:pt x="1683" y="3408"/>
                  </a:lnTo>
                  <a:lnTo>
                    <a:pt x="1649" y="3353"/>
                  </a:lnTo>
                  <a:lnTo>
                    <a:pt x="1614" y="3360"/>
                  </a:lnTo>
                  <a:lnTo>
                    <a:pt x="1544" y="3374"/>
                  </a:lnTo>
                  <a:lnTo>
                    <a:pt x="1530" y="3387"/>
                  </a:lnTo>
                  <a:lnTo>
                    <a:pt x="1495" y="3408"/>
                  </a:lnTo>
                  <a:lnTo>
                    <a:pt x="1454" y="3436"/>
                  </a:lnTo>
                  <a:lnTo>
                    <a:pt x="1426" y="3478"/>
                  </a:lnTo>
                  <a:lnTo>
                    <a:pt x="1440" y="3478"/>
                  </a:lnTo>
                  <a:lnTo>
                    <a:pt x="1426" y="3520"/>
                  </a:lnTo>
                  <a:lnTo>
                    <a:pt x="1440" y="3526"/>
                  </a:lnTo>
                  <a:lnTo>
                    <a:pt x="1426" y="3547"/>
                  </a:lnTo>
                  <a:lnTo>
                    <a:pt x="1391" y="3582"/>
                  </a:lnTo>
                  <a:lnTo>
                    <a:pt x="1377" y="3652"/>
                  </a:lnTo>
                  <a:lnTo>
                    <a:pt x="1356" y="3673"/>
                  </a:lnTo>
                  <a:lnTo>
                    <a:pt x="1349" y="3687"/>
                  </a:lnTo>
                  <a:lnTo>
                    <a:pt x="1328" y="3714"/>
                  </a:lnTo>
                  <a:lnTo>
                    <a:pt x="1321" y="3721"/>
                  </a:lnTo>
                  <a:lnTo>
                    <a:pt x="1294" y="3721"/>
                  </a:lnTo>
                  <a:lnTo>
                    <a:pt x="1294" y="3742"/>
                  </a:lnTo>
                  <a:lnTo>
                    <a:pt x="1301" y="3749"/>
                  </a:lnTo>
                  <a:lnTo>
                    <a:pt x="1294" y="3777"/>
                  </a:lnTo>
                  <a:lnTo>
                    <a:pt x="1280" y="3805"/>
                  </a:lnTo>
                  <a:lnTo>
                    <a:pt x="1280" y="3812"/>
                  </a:lnTo>
                  <a:lnTo>
                    <a:pt x="1301" y="3819"/>
                  </a:lnTo>
                  <a:lnTo>
                    <a:pt x="1301" y="3847"/>
                  </a:lnTo>
                  <a:lnTo>
                    <a:pt x="1342" y="3839"/>
                  </a:lnTo>
                  <a:lnTo>
                    <a:pt x="1356" y="3853"/>
                  </a:lnTo>
                  <a:lnTo>
                    <a:pt x="1384" y="3867"/>
                  </a:lnTo>
                  <a:lnTo>
                    <a:pt x="1412" y="3965"/>
                  </a:lnTo>
                  <a:lnTo>
                    <a:pt x="1419" y="3972"/>
                  </a:lnTo>
                  <a:lnTo>
                    <a:pt x="1398" y="3986"/>
                  </a:lnTo>
                  <a:lnTo>
                    <a:pt x="1349" y="4014"/>
                  </a:lnTo>
                  <a:lnTo>
                    <a:pt x="1342" y="4041"/>
                  </a:lnTo>
                  <a:lnTo>
                    <a:pt x="1294" y="4076"/>
                  </a:lnTo>
                  <a:lnTo>
                    <a:pt x="1294" y="4104"/>
                  </a:lnTo>
                  <a:lnTo>
                    <a:pt x="1349" y="4139"/>
                  </a:lnTo>
                  <a:lnTo>
                    <a:pt x="1356" y="4166"/>
                  </a:lnTo>
                  <a:lnTo>
                    <a:pt x="1328" y="4236"/>
                  </a:lnTo>
                  <a:lnTo>
                    <a:pt x="1349" y="4257"/>
                  </a:lnTo>
                  <a:lnTo>
                    <a:pt x="1315" y="4264"/>
                  </a:lnTo>
                  <a:lnTo>
                    <a:pt x="1315" y="4278"/>
                  </a:lnTo>
                  <a:lnTo>
                    <a:pt x="1252" y="4278"/>
                  </a:lnTo>
                  <a:lnTo>
                    <a:pt x="1245" y="4257"/>
                  </a:lnTo>
                  <a:lnTo>
                    <a:pt x="1210" y="4201"/>
                  </a:lnTo>
                  <a:lnTo>
                    <a:pt x="1217" y="4271"/>
                  </a:lnTo>
                  <a:lnTo>
                    <a:pt x="1155" y="4264"/>
                  </a:lnTo>
                  <a:lnTo>
                    <a:pt x="1155" y="4257"/>
                  </a:lnTo>
                  <a:lnTo>
                    <a:pt x="1155" y="4201"/>
                  </a:lnTo>
                  <a:lnTo>
                    <a:pt x="1169" y="4111"/>
                  </a:lnTo>
                  <a:lnTo>
                    <a:pt x="1113" y="4083"/>
                  </a:lnTo>
                  <a:lnTo>
                    <a:pt x="1113" y="4034"/>
                  </a:lnTo>
                  <a:lnTo>
                    <a:pt x="1092" y="4014"/>
                  </a:lnTo>
                  <a:lnTo>
                    <a:pt x="1071" y="3979"/>
                  </a:lnTo>
                  <a:lnTo>
                    <a:pt x="1071" y="3986"/>
                  </a:lnTo>
                  <a:lnTo>
                    <a:pt x="1002" y="4000"/>
                  </a:lnTo>
                  <a:lnTo>
                    <a:pt x="981" y="3972"/>
                  </a:lnTo>
                  <a:lnTo>
                    <a:pt x="960" y="3979"/>
                  </a:lnTo>
                  <a:lnTo>
                    <a:pt x="932" y="3979"/>
                  </a:lnTo>
                  <a:lnTo>
                    <a:pt x="925" y="3944"/>
                  </a:lnTo>
                  <a:lnTo>
                    <a:pt x="897" y="3909"/>
                  </a:lnTo>
                  <a:lnTo>
                    <a:pt x="932" y="3874"/>
                  </a:lnTo>
                  <a:lnTo>
                    <a:pt x="918" y="3839"/>
                  </a:lnTo>
                  <a:lnTo>
                    <a:pt x="897" y="3833"/>
                  </a:lnTo>
                  <a:lnTo>
                    <a:pt x="862" y="3819"/>
                  </a:lnTo>
                  <a:lnTo>
                    <a:pt x="862" y="3805"/>
                  </a:lnTo>
                  <a:lnTo>
                    <a:pt x="855" y="3798"/>
                  </a:lnTo>
                  <a:lnTo>
                    <a:pt x="807" y="3756"/>
                  </a:lnTo>
                  <a:lnTo>
                    <a:pt x="800" y="3735"/>
                  </a:lnTo>
                  <a:lnTo>
                    <a:pt x="765" y="3701"/>
                  </a:lnTo>
                  <a:lnTo>
                    <a:pt x="772" y="3680"/>
                  </a:lnTo>
                  <a:lnTo>
                    <a:pt x="786" y="3673"/>
                  </a:lnTo>
                  <a:lnTo>
                    <a:pt x="786" y="3645"/>
                  </a:lnTo>
                  <a:lnTo>
                    <a:pt x="758" y="3610"/>
                  </a:lnTo>
                  <a:lnTo>
                    <a:pt x="723" y="3610"/>
                  </a:lnTo>
                  <a:lnTo>
                    <a:pt x="696" y="3617"/>
                  </a:lnTo>
                  <a:lnTo>
                    <a:pt x="675" y="3603"/>
                  </a:lnTo>
                  <a:lnTo>
                    <a:pt x="654" y="3547"/>
                  </a:lnTo>
                  <a:lnTo>
                    <a:pt x="654" y="3492"/>
                  </a:lnTo>
                  <a:lnTo>
                    <a:pt x="640" y="3485"/>
                  </a:lnTo>
                  <a:lnTo>
                    <a:pt x="654" y="3478"/>
                  </a:lnTo>
                  <a:lnTo>
                    <a:pt x="640" y="3471"/>
                  </a:lnTo>
                  <a:lnTo>
                    <a:pt x="633" y="3471"/>
                  </a:lnTo>
                  <a:lnTo>
                    <a:pt x="633" y="3450"/>
                  </a:lnTo>
                  <a:lnTo>
                    <a:pt x="605" y="3457"/>
                  </a:lnTo>
                  <a:lnTo>
                    <a:pt x="598" y="3478"/>
                  </a:lnTo>
                  <a:lnTo>
                    <a:pt x="591" y="3457"/>
                  </a:lnTo>
                  <a:lnTo>
                    <a:pt x="556" y="3478"/>
                  </a:lnTo>
                  <a:lnTo>
                    <a:pt x="529" y="3485"/>
                  </a:lnTo>
                  <a:lnTo>
                    <a:pt x="515" y="3478"/>
                  </a:lnTo>
                  <a:lnTo>
                    <a:pt x="515" y="3492"/>
                  </a:lnTo>
                  <a:lnTo>
                    <a:pt x="501" y="3492"/>
                  </a:lnTo>
                  <a:lnTo>
                    <a:pt x="508" y="3513"/>
                  </a:lnTo>
                  <a:lnTo>
                    <a:pt x="480" y="3506"/>
                  </a:lnTo>
                  <a:lnTo>
                    <a:pt x="494" y="3513"/>
                  </a:lnTo>
                  <a:lnTo>
                    <a:pt x="480" y="3526"/>
                  </a:lnTo>
                  <a:lnTo>
                    <a:pt x="445" y="3526"/>
                  </a:lnTo>
                  <a:lnTo>
                    <a:pt x="459" y="3547"/>
                  </a:lnTo>
                  <a:lnTo>
                    <a:pt x="431" y="3554"/>
                  </a:lnTo>
                  <a:lnTo>
                    <a:pt x="403" y="3554"/>
                  </a:lnTo>
                  <a:lnTo>
                    <a:pt x="403" y="3526"/>
                  </a:lnTo>
                  <a:lnTo>
                    <a:pt x="368" y="3526"/>
                  </a:lnTo>
                  <a:lnTo>
                    <a:pt x="334" y="3492"/>
                  </a:lnTo>
                  <a:lnTo>
                    <a:pt x="334" y="3513"/>
                  </a:lnTo>
                  <a:lnTo>
                    <a:pt x="306" y="3526"/>
                  </a:lnTo>
                  <a:lnTo>
                    <a:pt x="250" y="3506"/>
                  </a:lnTo>
                  <a:lnTo>
                    <a:pt x="229" y="3478"/>
                  </a:lnTo>
                  <a:lnTo>
                    <a:pt x="236" y="3443"/>
                  </a:lnTo>
                  <a:lnTo>
                    <a:pt x="229" y="3443"/>
                  </a:lnTo>
                  <a:lnTo>
                    <a:pt x="229" y="3422"/>
                  </a:lnTo>
                  <a:lnTo>
                    <a:pt x="236" y="3415"/>
                  </a:lnTo>
                  <a:lnTo>
                    <a:pt x="215" y="3387"/>
                  </a:lnTo>
                  <a:lnTo>
                    <a:pt x="188" y="3380"/>
                  </a:lnTo>
                  <a:lnTo>
                    <a:pt x="188" y="3374"/>
                  </a:lnTo>
                  <a:lnTo>
                    <a:pt x="181" y="3353"/>
                  </a:lnTo>
                  <a:lnTo>
                    <a:pt x="174" y="3346"/>
                  </a:lnTo>
                  <a:lnTo>
                    <a:pt x="181" y="3311"/>
                  </a:lnTo>
                  <a:lnTo>
                    <a:pt x="146" y="3290"/>
                  </a:lnTo>
                  <a:lnTo>
                    <a:pt x="139" y="3255"/>
                  </a:lnTo>
                  <a:lnTo>
                    <a:pt x="76" y="3228"/>
                  </a:lnTo>
                  <a:lnTo>
                    <a:pt x="83" y="3220"/>
                  </a:lnTo>
                  <a:lnTo>
                    <a:pt x="76" y="3207"/>
                  </a:lnTo>
                  <a:lnTo>
                    <a:pt x="69" y="3179"/>
                  </a:lnTo>
                  <a:lnTo>
                    <a:pt x="132" y="3130"/>
                  </a:lnTo>
                  <a:lnTo>
                    <a:pt x="118" y="3123"/>
                  </a:lnTo>
                  <a:lnTo>
                    <a:pt x="83" y="3123"/>
                  </a:lnTo>
                  <a:lnTo>
                    <a:pt x="76" y="3144"/>
                  </a:lnTo>
                  <a:lnTo>
                    <a:pt x="41" y="3151"/>
                  </a:lnTo>
                  <a:lnTo>
                    <a:pt x="35" y="3144"/>
                  </a:lnTo>
                  <a:lnTo>
                    <a:pt x="35" y="3130"/>
                  </a:lnTo>
                  <a:lnTo>
                    <a:pt x="69" y="3123"/>
                  </a:lnTo>
                  <a:lnTo>
                    <a:pt x="35" y="3081"/>
                  </a:lnTo>
                  <a:lnTo>
                    <a:pt x="56" y="3067"/>
                  </a:lnTo>
                  <a:lnTo>
                    <a:pt x="48" y="3053"/>
                  </a:lnTo>
                  <a:lnTo>
                    <a:pt x="41" y="3053"/>
                  </a:lnTo>
                  <a:lnTo>
                    <a:pt x="83" y="3047"/>
                  </a:lnTo>
                  <a:lnTo>
                    <a:pt x="41" y="3033"/>
                  </a:lnTo>
                  <a:lnTo>
                    <a:pt x="35" y="3019"/>
                  </a:lnTo>
                  <a:lnTo>
                    <a:pt x="48" y="3033"/>
                  </a:lnTo>
                  <a:lnTo>
                    <a:pt x="69" y="3019"/>
                  </a:lnTo>
                  <a:lnTo>
                    <a:pt x="48" y="2998"/>
                  </a:lnTo>
                  <a:lnTo>
                    <a:pt x="48" y="2963"/>
                  </a:lnTo>
                  <a:lnTo>
                    <a:pt x="14" y="2977"/>
                  </a:lnTo>
                  <a:lnTo>
                    <a:pt x="21" y="2949"/>
                  </a:lnTo>
                  <a:lnTo>
                    <a:pt x="0" y="2928"/>
                  </a:lnTo>
                  <a:lnTo>
                    <a:pt x="14" y="2894"/>
                  </a:lnTo>
                  <a:lnTo>
                    <a:pt x="56" y="2886"/>
                  </a:lnTo>
                  <a:lnTo>
                    <a:pt x="41" y="2824"/>
                  </a:lnTo>
                  <a:lnTo>
                    <a:pt x="83" y="2789"/>
                  </a:lnTo>
                  <a:lnTo>
                    <a:pt x="104" y="2817"/>
                  </a:lnTo>
                  <a:lnTo>
                    <a:pt x="146" y="2817"/>
                  </a:lnTo>
                  <a:lnTo>
                    <a:pt x="181" y="2796"/>
                  </a:lnTo>
                  <a:lnTo>
                    <a:pt x="202" y="2796"/>
                  </a:lnTo>
                  <a:lnTo>
                    <a:pt x="208" y="2824"/>
                  </a:lnTo>
                  <a:lnTo>
                    <a:pt x="208" y="2831"/>
                  </a:lnTo>
                  <a:lnTo>
                    <a:pt x="250" y="2866"/>
                  </a:lnTo>
                  <a:lnTo>
                    <a:pt x="250" y="2886"/>
                  </a:lnTo>
                  <a:lnTo>
                    <a:pt x="250" y="2914"/>
                  </a:lnTo>
                  <a:lnTo>
                    <a:pt x="264" y="2928"/>
                  </a:lnTo>
                  <a:lnTo>
                    <a:pt x="306" y="2935"/>
                  </a:lnTo>
                  <a:lnTo>
                    <a:pt x="334" y="2914"/>
                  </a:lnTo>
                  <a:lnTo>
                    <a:pt x="334" y="2921"/>
                  </a:lnTo>
                  <a:lnTo>
                    <a:pt x="348" y="2921"/>
                  </a:lnTo>
                  <a:lnTo>
                    <a:pt x="368" y="2838"/>
                  </a:lnTo>
                  <a:lnTo>
                    <a:pt x="396" y="2852"/>
                  </a:lnTo>
                  <a:lnTo>
                    <a:pt x="431" y="2803"/>
                  </a:lnTo>
                  <a:lnTo>
                    <a:pt x="431" y="2796"/>
                  </a:lnTo>
                  <a:lnTo>
                    <a:pt x="382" y="2789"/>
                  </a:lnTo>
                  <a:lnTo>
                    <a:pt x="362" y="2754"/>
                  </a:lnTo>
                  <a:lnTo>
                    <a:pt x="362" y="2747"/>
                  </a:lnTo>
                  <a:lnTo>
                    <a:pt x="375" y="2754"/>
                  </a:lnTo>
                  <a:lnTo>
                    <a:pt x="431" y="2754"/>
                  </a:lnTo>
                  <a:lnTo>
                    <a:pt x="438" y="2727"/>
                  </a:lnTo>
                  <a:lnTo>
                    <a:pt x="494" y="2747"/>
                  </a:lnTo>
                  <a:lnTo>
                    <a:pt x="529" y="2720"/>
                  </a:lnTo>
                  <a:lnTo>
                    <a:pt x="535" y="2727"/>
                  </a:lnTo>
                  <a:lnTo>
                    <a:pt x="563" y="2720"/>
                  </a:lnTo>
                  <a:lnTo>
                    <a:pt x="556" y="2699"/>
                  </a:lnTo>
                  <a:lnTo>
                    <a:pt x="529" y="2657"/>
                  </a:lnTo>
                  <a:lnTo>
                    <a:pt x="535" y="2629"/>
                  </a:lnTo>
                  <a:lnTo>
                    <a:pt x="515" y="2629"/>
                  </a:lnTo>
                  <a:lnTo>
                    <a:pt x="508" y="2636"/>
                  </a:lnTo>
                  <a:lnTo>
                    <a:pt x="494" y="2573"/>
                  </a:lnTo>
                  <a:lnTo>
                    <a:pt x="480" y="2567"/>
                  </a:lnTo>
                  <a:lnTo>
                    <a:pt x="473" y="2567"/>
                  </a:lnTo>
                  <a:lnTo>
                    <a:pt x="473" y="2560"/>
                  </a:lnTo>
                  <a:lnTo>
                    <a:pt x="473" y="2518"/>
                  </a:lnTo>
                  <a:lnTo>
                    <a:pt x="466" y="2518"/>
                  </a:lnTo>
                  <a:lnTo>
                    <a:pt x="445" y="2518"/>
                  </a:lnTo>
                  <a:lnTo>
                    <a:pt x="424" y="2490"/>
                  </a:lnTo>
                  <a:lnTo>
                    <a:pt x="362" y="2469"/>
                  </a:lnTo>
                  <a:lnTo>
                    <a:pt x="348" y="2434"/>
                  </a:lnTo>
                  <a:lnTo>
                    <a:pt x="362" y="2421"/>
                  </a:lnTo>
                  <a:lnTo>
                    <a:pt x="341" y="2393"/>
                  </a:lnTo>
                  <a:lnTo>
                    <a:pt x="334" y="2365"/>
                  </a:lnTo>
                  <a:lnTo>
                    <a:pt x="334" y="2358"/>
                  </a:lnTo>
                  <a:lnTo>
                    <a:pt x="334" y="2344"/>
                  </a:lnTo>
                  <a:lnTo>
                    <a:pt x="313" y="2309"/>
                  </a:lnTo>
                  <a:lnTo>
                    <a:pt x="334" y="2274"/>
                  </a:lnTo>
                  <a:lnTo>
                    <a:pt x="313" y="2240"/>
                  </a:lnTo>
                  <a:lnTo>
                    <a:pt x="299" y="2226"/>
                  </a:lnTo>
                  <a:lnTo>
                    <a:pt x="264" y="2212"/>
                  </a:lnTo>
                  <a:lnTo>
                    <a:pt x="264" y="2191"/>
                  </a:lnTo>
                  <a:lnTo>
                    <a:pt x="271" y="2170"/>
                  </a:lnTo>
                  <a:lnTo>
                    <a:pt x="299" y="2191"/>
                  </a:lnTo>
                  <a:lnTo>
                    <a:pt x="306" y="2177"/>
                  </a:lnTo>
                  <a:lnTo>
                    <a:pt x="278" y="2135"/>
                  </a:lnTo>
                  <a:lnTo>
                    <a:pt x="285" y="2100"/>
                  </a:lnTo>
                  <a:lnTo>
                    <a:pt x="243" y="2100"/>
                  </a:lnTo>
                  <a:lnTo>
                    <a:pt x="229" y="2080"/>
                  </a:lnTo>
                  <a:lnTo>
                    <a:pt x="229" y="2066"/>
                  </a:lnTo>
                  <a:lnTo>
                    <a:pt x="243" y="2010"/>
                  </a:lnTo>
                  <a:lnTo>
                    <a:pt x="229" y="1996"/>
                  </a:lnTo>
                  <a:lnTo>
                    <a:pt x="146" y="1975"/>
                  </a:lnTo>
                  <a:lnTo>
                    <a:pt x="132" y="1934"/>
                  </a:lnTo>
                  <a:lnTo>
                    <a:pt x="83" y="1878"/>
                  </a:lnTo>
                  <a:lnTo>
                    <a:pt x="76" y="1843"/>
                  </a:lnTo>
                  <a:lnTo>
                    <a:pt x="83" y="1829"/>
                  </a:lnTo>
                  <a:lnTo>
                    <a:pt x="118" y="1787"/>
                  </a:lnTo>
                  <a:lnTo>
                    <a:pt x="146" y="1746"/>
                  </a:lnTo>
                  <a:lnTo>
                    <a:pt x="146" y="1739"/>
                  </a:lnTo>
                  <a:lnTo>
                    <a:pt x="146" y="1732"/>
                  </a:lnTo>
                  <a:lnTo>
                    <a:pt x="146" y="1704"/>
                  </a:lnTo>
                  <a:lnTo>
                    <a:pt x="139" y="1690"/>
                  </a:lnTo>
                  <a:lnTo>
                    <a:pt x="104" y="1614"/>
                  </a:lnTo>
                  <a:lnTo>
                    <a:pt x="167" y="1537"/>
                  </a:lnTo>
                  <a:lnTo>
                    <a:pt x="250" y="1454"/>
                  </a:lnTo>
                  <a:lnTo>
                    <a:pt x="285" y="1419"/>
                  </a:lnTo>
                  <a:lnTo>
                    <a:pt x="313" y="1391"/>
                  </a:lnTo>
                  <a:lnTo>
                    <a:pt x="327" y="1384"/>
                  </a:lnTo>
                  <a:lnTo>
                    <a:pt x="341" y="1370"/>
                  </a:lnTo>
                  <a:lnTo>
                    <a:pt x="368" y="1321"/>
                  </a:lnTo>
                  <a:lnTo>
                    <a:pt x="368" y="1314"/>
                  </a:lnTo>
                  <a:lnTo>
                    <a:pt x="368" y="1308"/>
                  </a:lnTo>
                  <a:lnTo>
                    <a:pt x="362" y="1308"/>
                  </a:lnTo>
                  <a:lnTo>
                    <a:pt x="341" y="1231"/>
                  </a:lnTo>
                  <a:lnTo>
                    <a:pt x="341" y="1182"/>
                  </a:lnTo>
                  <a:lnTo>
                    <a:pt x="348" y="1175"/>
                  </a:lnTo>
                  <a:lnTo>
                    <a:pt x="396" y="1120"/>
                  </a:lnTo>
                  <a:lnTo>
                    <a:pt x="431" y="1161"/>
                  </a:lnTo>
                  <a:lnTo>
                    <a:pt x="466" y="1182"/>
                  </a:lnTo>
                  <a:lnTo>
                    <a:pt x="508" y="1175"/>
                  </a:lnTo>
                  <a:lnTo>
                    <a:pt x="563" y="1217"/>
                  </a:lnTo>
                  <a:lnTo>
                    <a:pt x="570" y="1217"/>
                  </a:lnTo>
                  <a:lnTo>
                    <a:pt x="563" y="1280"/>
                  </a:lnTo>
                  <a:lnTo>
                    <a:pt x="542" y="1273"/>
                  </a:lnTo>
                  <a:lnTo>
                    <a:pt x="535" y="1294"/>
                  </a:lnTo>
                  <a:lnTo>
                    <a:pt x="535" y="1314"/>
                  </a:lnTo>
                  <a:lnTo>
                    <a:pt x="501" y="1342"/>
                  </a:lnTo>
                  <a:lnTo>
                    <a:pt x="473" y="1384"/>
                  </a:lnTo>
                  <a:lnTo>
                    <a:pt x="459" y="1412"/>
                  </a:lnTo>
                  <a:lnTo>
                    <a:pt x="515" y="1412"/>
                  </a:lnTo>
                  <a:lnTo>
                    <a:pt x="556" y="1426"/>
                  </a:lnTo>
                  <a:lnTo>
                    <a:pt x="563" y="1440"/>
                  </a:lnTo>
                  <a:lnTo>
                    <a:pt x="626" y="1481"/>
                  </a:lnTo>
                  <a:lnTo>
                    <a:pt x="640" y="1474"/>
                  </a:lnTo>
                  <a:lnTo>
                    <a:pt x="654" y="1544"/>
                  </a:lnTo>
                  <a:lnTo>
                    <a:pt x="668" y="1558"/>
                  </a:lnTo>
                  <a:lnTo>
                    <a:pt x="696" y="1606"/>
                  </a:lnTo>
                  <a:lnTo>
                    <a:pt x="696" y="1614"/>
                  </a:lnTo>
                  <a:lnTo>
                    <a:pt x="709" y="1669"/>
                  </a:lnTo>
                  <a:lnTo>
                    <a:pt x="723" y="1669"/>
                  </a:lnTo>
                  <a:lnTo>
                    <a:pt x="675" y="1732"/>
                  </a:lnTo>
                  <a:lnTo>
                    <a:pt x="668" y="1753"/>
                  </a:lnTo>
                  <a:lnTo>
                    <a:pt x="696" y="1746"/>
                  </a:lnTo>
                  <a:lnTo>
                    <a:pt x="744" y="1732"/>
                  </a:lnTo>
                  <a:lnTo>
                    <a:pt x="758" y="1739"/>
                  </a:lnTo>
                  <a:lnTo>
                    <a:pt x="765" y="1753"/>
                  </a:lnTo>
                  <a:lnTo>
                    <a:pt x="807" y="1746"/>
                  </a:lnTo>
                  <a:lnTo>
                    <a:pt x="807" y="1767"/>
                  </a:lnTo>
                  <a:lnTo>
                    <a:pt x="835" y="1781"/>
                  </a:lnTo>
                  <a:lnTo>
                    <a:pt x="855" y="1773"/>
                  </a:lnTo>
                  <a:lnTo>
                    <a:pt x="869" y="1773"/>
                  </a:lnTo>
                  <a:lnTo>
                    <a:pt x="883" y="1732"/>
                  </a:lnTo>
                  <a:lnTo>
                    <a:pt x="897" y="1711"/>
                  </a:lnTo>
                  <a:lnTo>
                    <a:pt x="918" y="1655"/>
                  </a:lnTo>
                  <a:lnTo>
                    <a:pt x="939" y="1641"/>
                  </a:lnTo>
                  <a:lnTo>
                    <a:pt x="960" y="1606"/>
                  </a:lnTo>
                  <a:lnTo>
                    <a:pt x="939" y="1600"/>
                  </a:lnTo>
                  <a:lnTo>
                    <a:pt x="939" y="1586"/>
                  </a:lnTo>
                  <a:lnTo>
                    <a:pt x="897" y="1558"/>
                  </a:lnTo>
                  <a:lnTo>
                    <a:pt x="862" y="1544"/>
                  </a:lnTo>
                  <a:lnTo>
                    <a:pt x="855" y="1523"/>
                  </a:lnTo>
                  <a:lnTo>
                    <a:pt x="842" y="1502"/>
                  </a:lnTo>
                  <a:lnTo>
                    <a:pt x="842" y="1481"/>
                  </a:lnTo>
                  <a:lnTo>
                    <a:pt x="807" y="1454"/>
                  </a:lnTo>
                  <a:lnTo>
                    <a:pt x="807" y="1440"/>
                  </a:lnTo>
                  <a:lnTo>
                    <a:pt x="862" y="1405"/>
                  </a:lnTo>
                  <a:lnTo>
                    <a:pt x="835" y="1328"/>
                  </a:lnTo>
                  <a:lnTo>
                    <a:pt x="842" y="1280"/>
                  </a:lnTo>
                  <a:lnTo>
                    <a:pt x="939" y="1245"/>
                  </a:lnTo>
                  <a:lnTo>
                    <a:pt x="967" y="1196"/>
                  </a:lnTo>
                  <a:lnTo>
                    <a:pt x="953" y="1120"/>
                  </a:lnTo>
                  <a:lnTo>
                    <a:pt x="1002" y="1092"/>
                  </a:lnTo>
                  <a:lnTo>
                    <a:pt x="1015" y="1092"/>
                  </a:lnTo>
                  <a:lnTo>
                    <a:pt x="1057" y="1043"/>
                  </a:lnTo>
                  <a:lnTo>
                    <a:pt x="1099" y="1015"/>
                  </a:lnTo>
                  <a:lnTo>
                    <a:pt x="1120" y="1015"/>
                  </a:lnTo>
                  <a:lnTo>
                    <a:pt x="1148" y="981"/>
                  </a:lnTo>
                  <a:lnTo>
                    <a:pt x="1155" y="925"/>
                  </a:lnTo>
                  <a:lnTo>
                    <a:pt x="1182" y="911"/>
                  </a:lnTo>
                  <a:lnTo>
                    <a:pt x="1189" y="883"/>
                  </a:lnTo>
                  <a:lnTo>
                    <a:pt x="1224" y="869"/>
                  </a:lnTo>
                  <a:lnTo>
                    <a:pt x="1231" y="814"/>
                  </a:lnTo>
                  <a:lnTo>
                    <a:pt x="1287" y="730"/>
                  </a:lnTo>
                  <a:lnTo>
                    <a:pt x="1294" y="695"/>
                  </a:lnTo>
                  <a:lnTo>
                    <a:pt x="1301" y="668"/>
                  </a:lnTo>
                  <a:lnTo>
                    <a:pt x="1301" y="626"/>
                  </a:lnTo>
                  <a:lnTo>
                    <a:pt x="1280" y="591"/>
                  </a:lnTo>
                  <a:lnTo>
                    <a:pt x="1287" y="535"/>
                  </a:lnTo>
                  <a:lnTo>
                    <a:pt x="1280" y="521"/>
                  </a:lnTo>
                  <a:lnTo>
                    <a:pt x="1266" y="466"/>
                  </a:lnTo>
                  <a:lnTo>
                    <a:pt x="1231" y="452"/>
                  </a:lnTo>
                  <a:lnTo>
                    <a:pt x="1224" y="403"/>
                  </a:lnTo>
                  <a:lnTo>
                    <a:pt x="1259" y="389"/>
                  </a:lnTo>
                  <a:lnTo>
                    <a:pt x="1280" y="306"/>
                  </a:lnTo>
                  <a:lnTo>
                    <a:pt x="1315" y="292"/>
                  </a:lnTo>
                  <a:lnTo>
                    <a:pt x="1426" y="278"/>
                  </a:lnTo>
                  <a:lnTo>
                    <a:pt x="1419" y="299"/>
                  </a:lnTo>
                  <a:lnTo>
                    <a:pt x="1454" y="334"/>
                  </a:lnTo>
                  <a:lnTo>
                    <a:pt x="1488" y="361"/>
                  </a:lnTo>
                  <a:lnTo>
                    <a:pt x="1516" y="327"/>
                  </a:lnTo>
                  <a:lnTo>
                    <a:pt x="1544" y="292"/>
                  </a:lnTo>
                  <a:lnTo>
                    <a:pt x="1579" y="278"/>
                  </a:lnTo>
                  <a:lnTo>
                    <a:pt x="1586" y="361"/>
                  </a:lnTo>
                  <a:lnTo>
                    <a:pt x="1579" y="487"/>
                  </a:lnTo>
                  <a:lnTo>
                    <a:pt x="1586" y="549"/>
                  </a:lnTo>
                  <a:lnTo>
                    <a:pt x="1586" y="570"/>
                  </a:lnTo>
                  <a:lnTo>
                    <a:pt x="1621" y="584"/>
                  </a:lnTo>
                  <a:lnTo>
                    <a:pt x="1655" y="626"/>
                  </a:lnTo>
                  <a:lnTo>
                    <a:pt x="1704" y="702"/>
                  </a:lnTo>
                  <a:lnTo>
                    <a:pt x="1718" y="723"/>
                  </a:lnTo>
                  <a:lnTo>
                    <a:pt x="1746" y="723"/>
                  </a:lnTo>
                  <a:lnTo>
                    <a:pt x="1781" y="737"/>
                  </a:lnTo>
                  <a:lnTo>
                    <a:pt x="1878" y="751"/>
                  </a:lnTo>
                  <a:lnTo>
                    <a:pt x="1941" y="730"/>
                  </a:lnTo>
                  <a:lnTo>
                    <a:pt x="1996" y="737"/>
                  </a:lnTo>
                  <a:lnTo>
                    <a:pt x="2010" y="681"/>
                  </a:lnTo>
                  <a:lnTo>
                    <a:pt x="2010" y="660"/>
                  </a:lnTo>
                  <a:lnTo>
                    <a:pt x="2031" y="626"/>
                  </a:lnTo>
                  <a:lnTo>
                    <a:pt x="2045" y="626"/>
                  </a:lnTo>
                  <a:lnTo>
                    <a:pt x="2101" y="654"/>
                  </a:lnTo>
                  <a:lnTo>
                    <a:pt x="2170" y="619"/>
                  </a:lnTo>
                  <a:lnTo>
                    <a:pt x="2198" y="591"/>
                  </a:lnTo>
                  <a:lnTo>
                    <a:pt x="2268" y="584"/>
                  </a:lnTo>
                  <a:lnTo>
                    <a:pt x="2309" y="556"/>
                  </a:lnTo>
                  <a:lnTo>
                    <a:pt x="2337" y="584"/>
                  </a:lnTo>
                  <a:lnTo>
                    <a:pt x="2379" y="556"/>
                  </a:lnTo>
                  <a:lnTo>
                    <a:pt x="2435" y="619"/>
                  </a:lnTo>
                  <a:lnTo>
                    <a:pt x="2455" y="626"/>
                  </a:lnTo>
                  <a:lnTo>
                    <a:pt x="2441" y="688"/>
                  </a:lnTo>
                  <a:lnTo>
                    <a:pt x="2462" y="702"/>
                  </a:lnTo>
                  <a:lnTo>
                    <a:pt x="2455" y="758"/>
                  </a:lnTo>
                  <a:lnTo>
                    <a:pt x="2462" y="765"/>
                  </a:lnTo>
                  <a:lnTo>
                    <a:pt x="2546" y="814"/>
                  </a:lnTo>
                  <a:lnTo>
                    <a:pt x="2546" y="869"/>
                  </a:lnTo>
                  <a:lnTo>
                    <a:pt x="2539" y="890"/>
                  </a:lnTo>
                  <a:lnTo>
                    <a:pt x="2587" y="911"/>
                  </a:lnTo>
                  <a:lnTo>
                    <a:pt x="2622" y="883"/>
                  </a:lnTo>
                  <a:lnTo>
                    <a:pt x="2629" y="890"/>
                  </a:lnTo>
                  <a:lnTo>
                    <a:pt x="2685" y="890"/>
                  </a:lnTo>
                  <a:lnTo>
                    <a:pt x="2755" y="820"/>
                  </a:lnTo>
                  <a:lnTo>
                    <a:pt x="2734" y="786"/>
                  </a:lnTo>
                  <a:lnTo>
                    <a:pt x="2727" y="779"/>
                  </a:lnTo>
                  <a:lnTo>
                    <a:pt x="2692" y="716"/>
                  </a:lnTo>
                  <a:lnTo>
                    <a:pt x="2643" y="681"/>
                  </a:lnTo>
                  <a:lnTo>
                    <a:pt x="2636" y="640"/>
                  </a:lnTo>
                  <a:lnTo>
                    <a:pt x="2643" y="619"/>
                  </a:lnTo>
                  <a:lnTo>
                    <a:pt x="2671" y="591"/>
                  </a:lnTo>
                  <a:lnTo>
                    <a:pt x="2685" y="556"/>
                  </a:lnTo>
                  <a:lnTo>
                    <a:pt x="2727" y="535"/>
                  </a:lnTo>
                  <a:lnTo>
                    <a:pt x="2734" y="493"/>
                  </a:lnTo>
                  <a:lnTo>
                    <a:pt x="2720" y="473"/>
                  </a:lnTo>
                  <a:lnTo>
                    <a:pt x="2706" y="459"/>
                  </a:lnTo>
                  <a:lnTo>
                    <a:pt x="2685" y="438"/>
                  </a:lnTo>
                  <a:lnTo>
                    <a:pt x="2629" y="466"/>
                  </a:lnTo>
                  <a:lnTo>
                    <a:pt x="2574" y="459"/>
                  </a:lnTo>
                  <a:lnTo>
                    <a:pt x="2560" y="431"/>
                  </a:lnTo>
                  <a:lnTo>
                    <a:pt x="2532" y="424"/>
                  </a:lnTo>
                  <a:lnTo>
                    <a:pt x="2539" y="389"/>
                  </a:lnTo>
                  <a:lnTo>
                    <a:pt x="2539" y="292"/>
                  </a:lnTo>
                  <a:lnTo>
                    <a:pt x="2539" y="264"/>
                  </a:lnTo>
                  <a:lnTo>
                    <a:pt x="2532" y="208"/>
                  </a:lnTo>
                  <a:lnTo>
                    <a:pt x="2595" y="160"/>
                  </a:lnTo>
                  <a:lnTo>
                    <a:pt x="2595" y="132"/>
                  </a:lnTo>
                  <a:lnTo>
                    <a:pt x="2622" y="125"/>
                  </a:lnTo>
                  <a:lnTo>
                    <a:pt x="2629" y="48"/>
                  </a:lnTo>
                  <a:lnTo>
                    <a:pt x="2657" y="48"/>
                  </a:lnTo>
                  <a:lnTo>
                    <a:pt x="2762" y="14"/>
                  </a:lnTo>
                  <a:lnTo>
                    <a:pt x="2817" y="28"/>
                  </a:lnTo>
                  <a:lnTo>
                    <a:pt x="2852" y="0"/>
                  </a:lnTo>
                  <a:lnTo>
                    <a:pt x="2887" y="41"/>
                  </a:lnTo>
                  <a:lnTo>
                    <a:pt x="2859" y="90"/>
                  </a:lnTo>
                  <a:lnTo>
                    <a:pt x="2873" y="132"/>
                  </a:lnTo>
                  <a:lnTo>
                    <a:pt x="2914" y="132"/>
                  </a:lnTo>
                  <a:lnTo>
                    <a:pt x="2956" y="167"/>
                  </a:lnTo>
                  <a:lnTo>
                    <a:pt x="2963" y="180"/>
                  </a:lnTo>
                  <a:lnTo>
                    <a:pt x="3012" y="180"/>
                  </a:lnTo>
                  <a:lnTo>
                    <a:pt x="3026" y="195"/>
                  </a:lnTo>
                  <a:lnTo>
                    <a:pt x="3054" y="167"/>
                  </a:lnTo>
                  <a:lnTo>
                    <a:pt x="3130" y="195"/>
                  </a:lnTo>
                  <a:lnTo>
                    <a:pt x="3158" y="180"/>
                  </a:lnTo>
                  <a:lnTo>
                    <a:pt x="3179" y="201"/>
                  </a:lnTo>
                  <a:lnTo>
                    <a:pt x="3200" y="222"/>
                  </a:lnTo>
                  <a:lnTo>
                    <a:pt x="3214" y="264"/>
                  </a:lnTo>
                  <a:lnTo>
                    <a:pt x="3248" y="299"/>
                  </a:lnTo>
                  <a:lnTo>
                    <a:pt x="3332" y="299"/>
                  </a:lnTo>
                  <a:lnTo>
                    <a:pt x="3381" y="327"/>
                  </a:lnTo>
                  <a:lnTo>
                    <a:pt x="3450" y="361"/>
                  </a:lnTo>
                  <a:lnTo>
                    <a:pt x="3492" y="403"/>
                  </a:lnTo>
                  <a:lnTo>
                    <a:pt x="3485" y="459"/>
                  </a:lnTo>
                  <a:lnTo>
                    <a:pt x="3506" y="493"/>
                  </a:lnTo>
                  <a:lnTo>
                    <a:pt x="3471" y="556"/>
                  </a:lnTo>
                  <a:lnTo>
                    <a:pt x="3408" y="563"/>
                  </a:lnTo>
                  <a:lnTo>
                    <a:pt x="3360" y="584"/>
                  </a:lnTo>
                  <a:lnTo>
                    <a:pt x="3360" y="598"/>
                  </a:lnTo>
                  <a:lnTo>
                    <a:pt x="3332" y="605"/>
                  </a:lnTo>
                  <a:lnTo>
                    <a:pt x="3318" y="633"/>
                  </a:lnTo>
                  <a:lnTo>
                    <a:pt x="3395" y="681"/>
                  </a:lnTo>
                  <a:lnTo>
                    <a:pt x="3415" y="730"/>
                  </a:lnTo>
                  <a:lnTo>
                    <a:pt x="3388" y="765"/>
                  </a:lnTo>
                  <a:lnTo>
                    <a:pt x="3415" y="800"/>
                  </a:lnTo>
                  <a:lnTo>
                    <a:pt x="3422" y="855"/>
                  </a:lnTo>
                  <a:lnTo>
                    <a:pt x="3408" y="890"/>
                  </a:lnTo>
                  <a:lnTo>
                    <a:pt x="3408" y="897"/>
                  </a:lnTo>
                  <a:lnTo>
                    <a:pt x="3360" y="981"/>
                  </a:lnTo>
                  <a:lnTo>
                    <a:pt x="3388" y="1029"/>
                  </a:lnTo>
                  <a:lnTo>
                    <a:pt x="3381" y="1064"/>
                  </a:lnTo>
                  <a:lnTo>
                    <a:pt x="3353" y="1175"/>
                  </a:lnTo>
                  <a:lnTo>
                    <a:pt x="3297" y="1224"/>
                  </a:lnTo>
                  <a:lnTo>
                    <a:pt x="3262" y="1259"/>
                  </a:lnTo>
                  <a:lnTo>
                    <a:pt x="3262" y="1321"/>
                  </a:lnTo>
                  <a:lnTo>
                    <a:pt x="3248" y="1342"/>
                  </a:lnTo>
                  <a:lnTo>
                    <a:pt x="3221" y="1391"/>
                  </a:lnTo>
                  <a:lnTo>
                    <a:pt x="3200" y="1440"/>
                  </a:lnTo>
                  <a:lnTo>
                    <a:pt x="3262" y="1454"/>
                  </a:lnTo>
                  <a:lnTo>
                    <a:pt x="3276" y="1516"/>
                  </a:lnTo>
                  <a:lnTo>
                    <a:pt x="3276" y="1537"/>
                  </a:lnTo>
                  <a:lnTo>
                    <a:pt x="3290" y="1551"/>
                  </a:lnTo>
                  <a:lnTo>
                    <a:pt x="3297" y="1600"/>
                  </a:lnTo>
                  <a:lnTo>
                    <a:pt x="3290" y="1614"/>
                  </a:lnTo>
                  <a:lnTo>
                    <a:pt x="3276" y="1634"/>
                  </a:lnTo>
                  <a:lnTo>
                    <a:pt x="3290" y="1655"/>
                  </a:lnTo>
                  <a:lnTo>
                    <a:pt x="3290" y="1767"/>
                  </a:lnTo>
                  <a:lnTo>
                    <a:pt x="3325" y="1773"/>
                  </a:lnTo>
                  <a:lnTo>
                    <a:pt x="3360" y="1787"/>
                  </a:lnTo>
                  <a:lnTo>
                    <a:pt x="3332" y="1808"/>
                  </a:lnTo>
                  <a:lnTo>
                    <a:pt x="3353" y="1850"/>
                  </a:lnTo>
                  <a:lnTo>
                    <a:pt x="3360" y="1864"/>
                  </a:lnTo>
                  <a:lnTo>
                    <a:pt x="3422" y="1843"/>
                  </a:lnTo>
                  <a:lnTo>
                    <a:pt x="3450" y="1829"/>
                  </a:lnTo>
                  <a:lnTo>
                    <a:pt x="3513" y="1808"/>
                  </a:lnTo>
                  <a:lnTo>
                    <a:pt x="3520" y="1815"/>
                  </a:lnTo>
                  <a:lnTo>
                    <a:pt x="3548" y="1767"/>
                  </a:lnTo>
                  <a:lnTo>
                    <a:pt x="3555" y="1753"/>
                  </a:lnTo>
                  <a:lnTo>
                    <a:pt x="3603" y="1746"/>
                  </a:lnTo>
                  <a:lnTo>
                    <a:pt x="3617" y="1739"/>
                  </a:lnTo>
                  <a:lnTo>
                    <a:pt x="3645" y="1739"/>
                  </a:lnTo>
                  <a:lnTo>
                    <a:pt x="3701" y="1739"/>
                  </a:lnTo>
                  <a:lnTo>
                    <a:pt x="3708" y="1753"/>
                  </a:lnTo>
                  <a:lnTo>
                    <a:pt x="3735" y="1732"/>
                  </a:lnTo>
                  <a:lnTo>
                    <a:pt x="3777" y="1746"/>
                  </a:lnTo>
                  <a:lnTo>
                    <a:pt x="3819" y="1739"/>
                  </a:lnTo>
                  <a:lnTo>
                    <a:pt x="3854" y="1753"/>
                  </a:lnTo>
                  <a:lnTo>
                    <a:pt x="3798" y="1843"/>
                  </a:lnTo>
                  <a:lnTo>
                    <a:pt x="3721" y="1948"/>
                  </a:lnTo>
                  <a:lnTo>
                    <a:pt x="3673" y="2031"/>
                  </a:lnTo>
                  <a:lnTo>
                    <a:pt x="3603" y="2128"/>
                  </a:lnTo>
                  <a:lnTo>
                    <a:pt x="3492" y="2246"/>
                  </a:lnTo>
                  <a:lnTo>
                    <a:pt x="3506" y="2309"/>
                  </a:lnTo>
                  <a:lnTo>
                    <a:pt x="3506" y="2344"/>
                  </a:lnTo>
                  <a:lnTo>
                    <a:pt x="3513" y="2421"/>
                  </a:lnTo>
                  <a:lnTo>
                    <a:pt x="3513" y="2455"/>
                  </a:lnTo>
                  <a:lnTo>
                    <a:pt x="3520" y="2525"/>
                  </a:lnTo>
                  <a:lnTo>
                    <a:pt x="3520" y="2601"/>
                  </a:lnTo>
                  <a:lnTo>
                    <a:pt x="3485" y="2601"/>
                  </a:lnTo>
                  <a:lnTo>
                    <a:pt x="3492" y="2622"/>
                  </a:lnTo>
                  <a:lnTo>
                    <a:pt x="3541" y="2608"/>
                  </a:lnTo>
                  <a:lnTo>
                    <a:pt x="3527" y="2664"/>
                  </a:lnTo>
                  <a:lnTo>
                    <a:pt x="3548" y="2664"/>
                  </a:lnTo>
                  <a:lnTo>
                    <a:pt x="3562" y="2650"/>
                  </a:lnTo>
                  <a:lnTo>
                    <a:pt x="3638" y="2664"/>
                  </a:lnTo>
                  <a:lnTo>
                    <a:pt x="3645" y="2699"/>
                  </a:lnTo>
                  <a:lnTo>
                    <a:pt x="3652" y="2699"/>
                  </a:lnTo>
                  <a:lnTo>
                    <a:pt x="3617" y="2747"/>
                  </a:lnTo>
                  <a:lnTo>
                    <a:pt x="3638" y="2768"/>
                  </a:lnTo>
                  <a:lnTo>
                    <a:pt x="3589" y="2803"/>
                  </a:lnTo>
                  <a:lnTo>
                    <a:pt x="3589" y="2831"/>
                  </a:lnTo>
                  <a:lnTo>
                    <a:pt x="3638" y="2838"/>
                  </a:lnTo>
                  <a:lnTo>
                    <a:pt x="3624" y="2886"/>
                  </a:lnTo>
                  <a:lnTo>
                    <a:pt x="3673" y="2886"/>
                  </a:lnTo>
                  <a:lnTo>
                    <a:pt x="3659" y="2935"/>
                  </a:lnTo>
                  <a:lnTo>
                    <a:pt x="3680" y="2949"/>
                  </a:lnTo>
                  <a:lnTo>
                    <a:pt x="3701" y="2935"/>
                  </a:lnTo>
                  <a:lnTo>
                    <a:pt x="3749" y="2886"/>
                  </a:lnTo>
                  <a:lnTo>
                    <a:pt x="3840" y="2977"/>
                  </a:lnTo>
                  <a:lnTo>
                    <a:pt x="3847" y="2984"/>
                  </a:lnTo>
                  <a:lnTo>
                    <a:pt x="3854" y="3019"/>
                  </a:lnTo>
                  <a:lnTo>
                    <a:pt x="3909" y="3033"/>
                  </a:lnTo>
                  <a:lnTo>
                    <a:pt x="3930" y="3033"/>
                  </a:lnTo>
                  <a:lnTo>
                    <a:pt x="3944" y="3033"/>
                  </a:lnTo>
                  <a:lnTo>
                    <a:pt x="3951" y="3061"/>
                  </a:lnTo>
                  <a:lnTo>
                    <a:pt x="4007" y="3067"/>
                  </a:lnTo>
                  <a:lnTo>
                    <a:pt x="4007" y="3109"/>
                  </a:lnTo>
                  <a:lnTo>
                    <a:pt x="4028" y="3123"/>
                  </a:lnTo>
                  <a:lnTo>
                    <a:pt x="4076" y="3144"/>
                  </a:lnTo>
                  <a:lnTo>
                    <a:pt x="4111" y="3165"/>
                  </a:lnTo>
                  <a:lnTo>
                    <a:pt x="4104" y="3241"/>
                  </a:lnTo>
                  <a:lnTo>
                    <a:pt x="4132" y="3248"/>
                  </a:lnTo>
                  <a:lnTo>
                    <a:pt x="4167" y="3241"/>
                  </a:lnTo>
                  <a:lnTo>
                    <a:pt x="4174" y="3248"/>
                  </a:lnTo>
                  <a:lnTo>
                    <a:pt x="4195" y="3248"/>
                  </a:lnTo>
                  <a:lnTo>
                    <a:pt x="4181" y="3283"/>
                  </a:lnTo>
                  <a:lnTo>
                    <a:pt x="4167" y="3311"/>
                  </a:lnTo>
                  <a:lnTo>
                    <a:pt x="4195" y="3339"/>
                  </a:lnTo>
                  <a:lnTo>
                    <a:pt x="4236" y="3360"/>
                  </a:lnTo>
                  <a:lnTo>
                    <a:pt x="4271" y="3374"/>
                  </a:lnTo>
                  <a:lnTo>
                    <a:pt x="4278" y="3325"/>
                  </a:lnTo>
                  <a:lnTo>
                    <a:pt x="4327" y="3353"/>
                  </a:lnTo>
                  <a:lnTo>
                    <a:pt x="4341" y="3311"/>
                  </a:lnTo>
                  <a:lnTo>
                    <a:pt x="4348" y="3297"/>
                  </a:lnTo>
                  <a:lnTo>
                    <a:pt x="4438" y="3339"/>
                  </a:lnTo>
                  <a:lnTo>
                    <a:pt x="4445" y="3339"/>
                  </a:lnTo>
                  <a:lnTo>
                    <a:pt x="4403" y="3374"/>
                  </a:lnTo>
                  <a:lnTo>
                    <a:pt x="4410" y="3394"/>
                  </a:lnTo>
                  <a:lnTo>
                    <a:pt x="4396" y="3443"/>
                  </a:lnTo>
                  <a:lnTo>
                    <a:pt x="4403" y="3450"/>
                  </a:lnTo>
                  <a:lnTo>
                    <a:pt x="4445" y="3450"/>
                  </a:lnTo>
                  <a:lnTo>
                    <a:pt x="4487" y="3471"/>
                  </a:lnTo>
                  <a:lnTo>
                    <a:pt x="4494" y="3478"/>
                  </a:lnTo>
                  <a:lnTo>
                    <a:pt x="4522" y="3478"/>
                  </a:lnTo>
                  <a:lnTo>
                    <a:pt x="4556" y="3457"/>
                  </a:lnTo>
                  <a:lnTo>
                    <a:pt x="4556" y="3485"/>
                  </a:lnTo>
                  <a:lnTo>
                    <a:pt x="4542" y="3513"/>
                  </a:lnTo>
                  <a:lnTo>
                    <a:pt x="4577" y="3547"/>
                  </a:lnTo>
                  <a:lnTo>
                    <a:pt x="4605" y="3547"/>
                  </a:lnTo>
                  <a:lnTo>
                    <a:pt x="4654" y="358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1" name="Freeform 110"/>
            <p:cNvSpPr>
              <a:spLocks noChangeArrowheads="1"/>
            </p:cNvSpPr>
            <p:nvPr/>
          </p:nvSpPr>
          <p:spPr bwMode="auto">
            <a:xfrm>
              <a:off x="14505171" y="2999961"/>
              <a:ext cx="2263722" cy="2009107"/>
            </a:xfrm>
            <a:custGeom>
              <a:avLst/>
              <a:gdLst>
                <a:gd name="T0" fmla="*/ 4619 w 4822"/>
                <a:gd name="T1" fmla="*/ 3666 h 4279"/>
                <a:gd name="T2" fmla="*/ 4229 w 4822"/>
                <a:gd name="T3" fmla="*/ 3666 h 4279"/>
                <a:gd name="T4" fmla="*/ 3909 w 4822"/>
                <a:gd name="T5" fmla="*/ 3749 h 4279"/>
                <a:gd name="T6" fmla="*/ 3652 w 4822"/>
                <a:gd name="T7" fmla="*/ 3603 h 4279"/>
                <a:gd name="T8" fmla="*/ 3297 w 4822"/>
                <a:gd name="T9" fmla="*/ 3749 h 4279"/>
                <a:gd name="T10" fmla="*/ 2901 w 4822"/>
                <a:gd name="T11" fmla="*/ 3568 h 4279"/>
                <a:gd name="T12" fmla="*/ 2546 w 4822"/>
                <a:gd name="T13" fmla="*/ 3471 h 4279"/>
                <a:gd name="T14" fmla="*/ 2344 w 4822"/>
                <a:gd name="T15" fmla="*/ 3290 h 4279"/>
                <a:gd name="T16" fmla="*/ 2108 w 4822"/>
                <a:gd name="T17" fmla="*/ 3380 h 4279"/>
                <a:gd name="T18" fmla="*/ 1857 w 4822"/>
                <a:gd name="T19" fmla="*/ 3290 h 4279"/>
                <a:gd name="T20" fmla="*/ 1649 w 4822"/>
                <a:gd name="T21" fmla="*/ 3353 h 4279"/>
                <a:gd name="T22" fmla="*/ 1391 w 4822"/>
                <a:gd name="T23" fmla="*/ 3582 h 4279"/>
                <a:gd name="T24" fmla="*/ 1280 w 4822"/>
                <a:gd name="T25" fmla="*/ 3812 h 4279"/>
                <a:gd name="T26" fmla="*/ 1294 w 4822"/>
                <a:gd name="T27" fmla="*/ 4076 h 4279"/>
                <a:gd name="T28" fmla="*/ 1217 w 4822"/>
                <a:gd name="T29" fmla="*/ 4271 h 4279"/>
                <a:gd name="T30" fmla="*/ 981 w 4822"/>
                <a:gd name="T31" fmla="*/ 3972 h 4279"/>
                <a:gd name="T32" fmla="*/ 807 w 4822"/>
                <a:gd name="T33" fmla="*/ 3756 h 4279"/>
                <a:gd name="T34" fmla="*/ 654 w 4822"/>
                <a:gd name="T35" fmla="*/ 3492 h 4279"/>
                <a:gd name="T36" fmla="*/ 515 w 4822"/>
                <a:gd name="T37" fmla="*/ 3478 h 4279"/>
                <a:gd name="T38" fmla="*/ 403 w 4822"/>
                <a:gd name="T39" fmla="*/ 3526 h 4279"/>
                <a:gd name="T40" fmla="*/ 215 w 4822"/>
                <a:gd name="T41" fmla="*/ 3387 h 4279"/>
                <a:gd name="T42" fmla="*/ 69 w 4822"/>
                <a:gd name="T43" fmla="*/ 3179 h 4279"/>
                <a:gd name="T44" fmla="*/ 48 w 4822"/>
                <a:gd name="T45" fmla="*/ 3053 h 4279"/>
                <a:gd name="T46" fmla="*/ 0 w 4822"/>
                <a:gd name="T47" fmla="*/ 2928 h 4279"/>
                <a:gd name="T48" fmla="*/ 250 w 4822"/>
                <a:gd name="T49" fmla="*/ 2866 h 4279"/>
                <a:gd name="T50" fmla="*/ 431 w 4822"/>
                <a:gd name="T51" fmla="*/ 2796 h 4279"/>
                <a:gd name="T52" fmla="*/ 556 w 4822"/>
                <a:gd name="T53" fmla="*/ 2699 h 4279"/>
                <a:gd name="T54" fmla="*/ 445 w 4822"/>
                <a:gd name="T55" fmla="*/ 2518 h 4279"/>
                <a:gd name="T56" fmla="*/ 313 w 4822"/>
                <a:gd name="T57" fmla="*/ 2240 h 4279"/>
                <a:gd name="T58" fmla="*/ 229 w 4822"/>
                <a:gd name="T59" fmla="*/ 2066 h 4279"/>
                <a:gd name="T60" fmla="*/ 146 w 4822"/>
                <a:gd name="T61" fmla="*/ 1732 h 4279"/>
                <a:gd name="T62" fmla="*/ 368 w 4822"/>
                <a:gd name="T63" fmla="*/ 1314 h 4279"/>
                <a:gd name="T64" fmla="*/ 570 w 4822"/>
                <a:gd name="T65" fmla="*/ 1217 h 4279"/>
                <a:gd name="T66" fmla="*/ 626 w 4822"/>
                <a:gd name="T67" fmla="*/ 1481 h 4279"/>
                <a:gd name="T68" fmla="*/ 744 w 4822"/>
                <a:gd name="T69" fmla="*/ 1732 h 4279"/>
                <a:gd name="T70" fmla="*/ 939 w 4822"/>
                <a:gd name="T71" fmla="*/ 1641 h 4279"/>
                <a:gd name="T72" fmla="*/ 862 w 4822"/>
                <a:gd name="T73" fmla="*/ 1405 h 4279"/>
                <a:gd name="T74" fmla="*/ 1148 w 4822"/>
                <a:gd name="T75" fmla="*/ 981 h 4279"/>
                <a:gd name="T76" fmla="*/ 1287 w 4822"/>
                <a:gd name="T77" fmla="*/ 535 h 4279"/>
                <a:gd name="T78" fmla="*/ 1488 w 4822"/>
                <a:gd name="T79" fmla="*/ 361 h 4279"/>
                <a:gd name="T80" fmla="*/ 1718 w 4822"/>
                <a:gd name="T81" fmla="*/ 723 h 4279"/>
                <a:gd name="T82" fmla="*/ 2170 w 4822"/>
                <a:gd name="T83" fmla="*/ 619 h 4279"/>
                <a:gd name="T84" fmla="*/ 2462 w 4822"/>
                <a:gd name="T85" fmla="*/ 765 h 4279"/>
                <a:gd name="T86" fmla="*/ 2692 w 4822"/>
                <a:gd name="T87" fmla="*/ 716 h 4279"/>
                <a:gd name="T88" fmla="*/ 2629 w 4822"/>
                <a:gd name="T89" fmla="*/ 466 h 4279"/>
                <a:gd name="T90" fmla="*/ 2629 w 4822"/>
                <a:gd name="T91" fmla="*/ 48 h 4279"/>
                <a:gd name="T92" fmla="*/ 3012 w 4822"/>
                <a:gd name="T93" fmla="*/ 180 h 4279"/>
                <a:gd name="T94" fmla="*/ 3450 w 4822"/>
                <a:gd name="T95" fmla="*/ 361 h 4279"/>
                <a:gd name="T96" fmla="*/ 3415 w 4822"/>
                <a:gd name="T97" fmla="*/ 730 h 4279"/>
                <a:gd name="T98" fmla="*/ 3262 w 4822"/>
                <a:gd name="T99" fmla="*/ 1259 h 4279"/>
                <a:gd name="T100" fmla="*/ 3276 w 4822"/>
                <a:gd name="T101" fmla="*/ 1634 h 4279"/>
                <a:gd name="T102" fmla="*/ 3520 w 4822"/>
                <a:gd name="T103" fmla="*/ 1815 h 4279"/>
                <a:gd name="T104" fmla="*/ 3854 w 4822"/>
                <a:gd name="T105" fmla="*/ 1753 h 4279"/>
                <a:gd name="T106" fmla="*/ 3520 w 4822"/>
                <a:gd name="T107" fmla="*/ 2601 h 4279"/>
                <a:gd name="T108" fmla="*/ 3638 w 4822"/>
                <a:gd name="T109" fmla="*/ 2768 h 4279"/>
                <a:gd name="T110" fmla="*/ 3847 w 4822"/>
                <a:gd name="T111" fmla="*/ 2984 h 4279"/>
                <a:gd name="T112" fmla="*/ 4104 w 4822"/>
                <a:gd name="T113" fmla="*/ 3241 h 4279"/>
                <a:gd name="T114" fmla="*/ 4327 w 4822"/>
                <a:gd name="T115" fmla="*/ 3353 h 4279"/>
                <a:gd name="T116" fmla="*/ 4494 w 4822"/>
                <a:gd name="T117" fmla="*/ 3478 h 4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22" h="4279">
                  <a:moveTo>
                    <a:pt x="4654" y="3582"/>
                  </a:moveTo>
                  <a:lnTo>
                    <a:pt x="4751" y="3638"/>
                  </a:lnTo>
                  <a:lnTo>
                    <a:pt x="4793" y="3645"/>
                  </a:lnTo>
                  <a:lnTo>
                    <a:pt x="4821" y="3673"/>
                  </a:lnTo>
                  <a:lnTo>
                    <a:pt x="4814" y="3687"/>
                  </a:lnTo>
                  <a:lnTo>
                    <a:pt x="4765" y="3680"/>
                  </a:lnTo>
                  <a:lnTo>
                    <a:pt x="4730" y="3673"/>
                  </a:lnTo>
                  <a:lnTo>
                    <a:pt x="4703" y="3687"/>
                  </a:lnTo>
                  <a:lnTo>
                    <a:pt x="4654" y="3666"/>
                  </a:lnTo>
                  <a:lnTo>
                    <a:pt x="4626" y="3673"/>
                  </a:lnTo>
                  <a:lnTo>
                    <a:pt x="4619" y="3666"/>
                  </a:lnTo>
                  <a:lnTo>
                    <a:pt x="4619" y="3673"/>
                  </a:lnTo>
                  <a:lnTo>
                    <a:pt x="4577" y="3673"/>
                  </a:lnTo>
                  <a:lnTo>
                    <a:pt x="4563" y="3707"/>
                  </a:lnTo>
                  <a:lnTo>
                    <a:pt x="4522" y="3687"/>
                  </a:lnTo>
                  <a:lnTo>
                    <a:pt x="4466" y="3707"/>
                  </a:lnTo>
                  <a:lnTo>
                    <a:pt x="4445" y="3707"/>
                  </a:lnTo>
                  <a:lnTo>
                    <a:pt x="4375" y="3707"/>
                  </a:lnTo>
                  <a:lnTo>
                    <a:pt x="4361" y="3721"/>
                  </a:lnTo>
                  <a:lnTo>
                    <a:pt x="4313" y="3687"/>
                  </a:lnTo>
                  <a:lnTo>
                    <a:pt x="4264" y="3666"/>
                  </a:lnTo>
                  <a:lnTo>
                    <a:pt x="4229" y="3666"/>
                  </a:lnTo>
                  <a:lnTo>
                    <a:pt x="4209" y="3687"/>
                  </a:lnTo>
                  <a:lnTo>
                    <a:pt x="4160" y="3680"/>
                  </a:lnTo>
                  <a:lnTo>
                    <a:pt x="4118" y="3673"/>
                  </a:lnTo>
                  <a:lnTo>
                    <a:pt x="4076" y="3707"/>
                  </a:lnTo>
                  <a:lnTo>
                    <a:pt x="4035" y="3721"/>
                  </a:lnTo>
                  <a:lnTo>
                    <a:pt x="4028" y="3742"/>
                  </a:lnTo>
                  <a:lnTo>
                    <a:pt x="3972" y="3742"/>
                  </a:lnTo>
                  <a:lnTo>
                    <a:pt x="3930" y="3770"/>
                  </a:lnTo>
                  <a:lnTo>
                    <a:pt x="3944" y="3749"/>
                  </a:lnTo>
                  <a:lnTo>
                    <a:pt x="3909" y="3756"/>
                  </a:lnTo>
                  <a:lnTo>
                    <a:pt x="3909" y="3749"/>
                  </a:lnTo>
                  <a:lnTo>
                    <a:pt x="3902" y="3749"/>
                  </a:lnTo>
                  <a:lnTo>
                    <a:pt x="3888" y="3735"/>
                  </a:lnTo>
                  <a:lnTo>
                    <a:pt x="3854" y="3735"/>
                  </a:lnTo>
                  <a:lnTo>
                    <a:pt x="3819" y="3714"/>
                  </a:lnTo>
                  <a:lnTo>
                    <a:pt x="3798" y="3721"/>
                  </a:lnTo>
                  <a:lnTo>
                    <a:pt x="3784" y="3714"/>
                  </a:lnTo>
                  <a:lnTo>
                    <a:pt x="3735" y="3707"/>
                  </a:lnTo>
                  <a:lnTo>
                    <a:pt x="3687" y="3680"/>
                  </a:lnTo>
                  <a:lnTo>
                    <a:pt x="3701" y="3666"/>
                  </a:lnTo>
                  <a:lnTo>
                    <a:pt x="3673" y="3603"/>
                  </a:lnTo>
                  <a:lnTo>
                    <a:pt x="3652" y="3603"/>
                  </a:lnTo>
                  <a:lnTo>
                    <a:pt x="3638" y="3624"/>
                  </a:lnTo>
                  <a:lnTo>
                    <a:pt x="3610" y="3666"/>
                  </a:lnTo>
                  <a:lnTo>
                    <a:pt x="3610" y="3645"/>
                  </a:lnTo>
                  <a:lnTo>
                    <a:pt x="3589" y="3610"/>
                  </a:lnTo>
                  <a:lnTo>
                    <a:pt x="3527" y="3687"/>
                  </a:lnTo>
                  <a:lnTo>
                    <a:pt x="3506" y="3735"/>
                  </a:lnTo>
                  <a:lnTo>
                    <a:pt x="3478" y="3749"/>
                  </a:lnTo>
                  <a:lnTo>
                    <a:pt x="3443" y="3770"/>
                  </a:lnTo>
                  <a:lnTo>
                    <a:pt x="3422" y="3770"/>
                  </a:lnTo>
                  <a:lnTo>
                    <a:pt x="3332" y="3770"/>
                  </a:lnTo>
                  <a:lnTo>
                    <a:pt x="3297" y="3749"/>
                  </a:lnTo>
                  <a:lnTo>
                    <a:pt x="3228" y="3714"/>
                  </a:lnTo>
                  <a:lnTo>
                    <a:pt x="3193" y="3707"/>
                  </a:lnTo>
                  <a:lnTo>
                    <a:pt x="3165" y="3666"/>
                  </a:lnTo>
                  <a:lnTo>
                    <a:pt x="3151" y="3624"/>
                  </a:lnTo>
                  <a:lnTo>
                    <a:pt x="3116" y="3610"/>
                  </a:lnTo>
                  <a:lnTo>
                    <a:pt x="3054" y="3652"/>
                  </a:lnTo>
                  <a:lnTo>
                    <a:pt x="2991" y="3610"/>
                  </a:lnTo>
                  <a:lnTo>
                    <a:pt x="2970" y="3610"/>
                  </a:lnTo>
                  <a:lnTo>
                    <a:pt x="2963" y="3589"/>
                  </a:lnTo>
                  <a:lnTo>
                    <a:pt x="2914" y="3575"/>
                  </a:lnTo>
                  <a:lnTo>
                    <a:pt x="2901" y="3568"/>
                  </a:lnTo>
                  <a:lnTo>
                    <a:pt x="2866" y="3526"/>
                  </a:lnTo>
                  <a:lnTo>
                    <a:pt x="2817" y="3506"/>
                  </a:lnTo>
                  <a:lnTo>
                    <a:pt x="2762" y="3513"/>
                  </a:lnTo>
                  <a:lnTo>
                    <a:pt x="2741" y="3485"/>
                  </a:lnTo>
                  <a:lnTo>
                    <a:pt x="2720" y="3485"/>
                  </a:lnTo>
                  <a:lnTo>
                    <a:pt x="2685" y="3513"/>
                  </a:lnTo>
                  <a:lnTo>
                    <a:pt x="2664" y="3520"/>
                  </a:lnTo>
                  <a:lnTo>
                    <a:pt x="2622" y="3520"/>
                  </a:lnTo>
                  <a:lnTo>
                    <a:pt x="2602" y="3478"/>
                  </a:lnTo>
                  <a:lnTo>
                    <a:pt x="2546" y="3485"/>
                  </a:lnTo>
                  <a:lnTo>
                    <a:pt x="2546" y="3471"/>
                  </a:lnTo>
                  <a:lnTo>
                    <a:pt x="2532" y="3436"/>
                  </a:lnTo>
                  <a:lnTo>
                    <a:pt x="2504" y="3422"/>
                  </a:lnTo>
                  <a:lnTo>
                    <a:pt x="2511" y="3387"/>
                  </a:lnTo>
                  <a:lnTo>
                    <a:pt x="2497" y="3346"/>
                  </a:lnTo>
                  <a:lnTo>
                    <a:pt x="2441" y="3290"/>
                  </a:lnTo>
                  <a:lnTo>
                    <a:pt x="2414" y="3290"/>
                  </a:lnTo>
                  <a:lnTo>
                    <a:pt x="2414" y="3297"/>
                  </a:lnTo>
                  <a:lnTo>
                    <a:pt x="2372" y="3339"/>
                  </a:lnTo>
                  <a:lnTo>
                    <a:pt x="2330" y="3360"/>
                  </a:lnTo>
                  <a:lnTo>
                    <a:pt x="2337" y="3339"/>
                  </a:lnTo>
                  <a:lnTo>
                    <a:pt x="2344" y="3290"/>
                  </a:lnTo>
                  <a:lnTo>
                    <a:pt x="2309" y="3276"/>
                  </a:lnTo>
                  <a:lnTo>
                    <a:pt x="2281" y="3290"/>
                  </a:lnTo>
                  <a:lnTo>
                    <a:pt x="2261" y="3318"/>
                  </a:lnTo>
                  <a:lnTo>
                    <a:pt x="2302" y="3380"/>
                  </a:lnTo>
                  <a:lnTo>
                    <a:pt x="2274" y="3415"/>
                  </a:lnTo>
                  <a:lnTo>
                    <a:pt x="2212" y="3360"/>
                  </a:lnTo>
                  <a:lnTo>
                    <a:pt x="2205" y="3360"/>
                  </a:lnTo>
                  <a:lnTo>
                    <a:pt x="2184" y="3408"/>
                  </a:lnTo>
                  <a:lnTo>
                    <a:pt x="2177" y="3450"/>
                  </a:lnTo>
                  <a:lnTo>
                    <a:pt x="2170" y="3415"/>
                  </a:lnTo>
                  <a:lnTo>
                    <a:pt x="2108" y="3380"/>
                  </a:lnTo>
                  <a:lnTo>
                    <a:pt x="2073" y="3339"/>
                  </a:lnTo>
                  <a:lnTo>
                    <a:pt x="2066" y="3325"/>
                  </a:lnTo>
                  <a:lnTo>
                    <a:pt x="2052" y="3339"/>
                  </a:lnTo>
                  <a:lnTo>
                    <a:pt x="2045" y="3346"/>
                  </a:lnTo>
                  <a:lnTo>
                    <a:pt x="2073" y="3380"/>
                  </a:lnTo>
                  <a:lnTo>
                    <a:pt x="2003" y="3443"/>
                  </a:lnTo>
                  <a:lnTo>
                    <a:pt x="1920" y="3408"/>
                  </a:lnTo>
                  <a:lnTo>
                    <a:pt x="1857" y="3387"/>
                  </a:lnTo>
                  <a:lnTo>
                    <a:pt x="1871" y="3346"/>
                  </a:lnTo>
                  <a:lnTo>
                    <a:pt x="1871" y="3297"/>
                  </a:lnTo>
                  <a:lnTo>
                    <a:pt x="1857" y="3290"/>
                  </a:lnTo>
                  <a:lnTo>
                    <a:pt x="1836" y="3283"/>
                  </a:lnTo>
                  <a:lnTo>
                    <a:pt x="1822" y="3339"/>
                  </a:lnTo>
                  <a:lnTo>
                    <a:pt x="1760" y="3353"/>
                  </a:lnTo>
                  <a:lnTo>
                    <a:pt x="1725" y="3290"/>
                  </a:lnTo>
                  <a:lnTo>
                    <a:pt x="1711" y="3290"/>
                  </a:lnTo>
                  <a:lnTo>
                    <a:pt x="1704" y="3297"/>
                  </a:lnTo>
                  <a:lnTo>
                    <a:pt x="1704" y="3311"/>
                  </a:lnTo>
                  <a:lnTo>
                    <a:pt x="1725" y="3374"/>
                  </a:lnTo>
                  <a:lnTo>
                    <a:pt x="1690" y="3408"/>
                  </a:lnTo>
                  <a:lnTo>
                    <a:pt x="1683" y="3408"/>
                  </a:lnTo>
                  <a:lnTo>
                    <a:pt x="1649" y="3353"/>
                  </a:lnTo>
                  <a:lnTo>
                    <a:pt x="1614" y="3360"/>
                  </a:lnTo>
                  <a:lnTo>
                    <a:pt x="1544" y="3374"/>
                  </a:lnTo>
                  <a:lnTo>
                    <a:pt x="1530" y="3387"/>
                  </a:lnTo>
                  <a:lnTo>
                    <a:pt x="1495" y="3408"/>
                  </a:lnTo>
                  <a:lnTo>
                    <a:pt x="1454" y="3436"/>
                  </a:lnTo>
                  <a:lnTo>
                    <a:pt x="1426" y="3478"/>
                  </a:lnTo>
                  <a:lnTo>
                    <a:pt x="1440" y="3478"/>
                  </a:lnTo>
                  <a:lnTo>
                    <a:pt x="1426" y="3520"/>
                  </a:lnTo>
                  <a:lnTo>
                    <a:pt x="1440" y="3526"/>
                  </a:lnTo>
                  <a:lnTo>
                    <a:pt x="1426" y="3547"/>
                  </a:lnTo>
                  <a:lnTo>
                    <a:pt x="1391" y="3582"/>
                  </a:lnTo>
                  <a:lnTo>
                    <a:pt x="1377" y="3652"/>
                  </a:lnTo>
                  <a:lnTo>
                    <a:pt x="1356" y="3673"/>
                  </a:lnTo>
                  <a:lnTo>
                    <a:pt x="1349" y="3687"/>
                  </a:lnTo>
                  <a:lnTo>
                    <a:pt x="1328" y="3714"/>
                  </a:lnTo>
                  <a:lnTo>
                    <a:pt x="1321" y="3721"/>
                  </a:lnTo>
                  <a:lnTo>
                    <a:pt x="1294" y="3721"/>
                  </a:lnTo>
                  <a:lnTo>
                    <a:pt x="1294" y="3742"/>
                  </a:lnTo>
                  <a:lnTo>
                    <a:pt x="1301" y="3749"/>
                  </a:lnTo>
                  <a:lnTo>
                    <a:pt x="1294" y="3777"/>
                  </a:lnTo>
                  <a:lnTo>
                    <a:pt x="1280" y="3805"/>
                  </a:lnTo>
                  <a:lnTo>
                    <a:pt x="1280" y="3812"/>
                  </a:lnTo>
                  <a:lnTo>
                    <a:pt x="1301" y="3819"/>
                  </a:lnTo>
                  <a:lnTo>
                    <a:pt x="1301" y="3847"/>
                  </a:lnTo>
                  <a:lnTo>
                    <a:pt x="1342" y="3839"/>
                  </a:lnTo>
                  <a:lnTo>
                    <a:pt x="1356" y="3853"/>
                  </a:lnTo>
                  <a:lnTo>
                    <a:pt x="1384" y="3867"/>
                  </a:lnTo>
                  <a:lnTo>
                    <a:pt x="1412" y="3965"/>
                  </a:lnTo>
                  <a:lnTo>
                    <a:pt x="1419" y="3972"/>
                  </a:lnTo>
                  <a:lnTo>
                    <a:pt x="1398" y="3986"/>
                  </a:lnTo>
                  <a:lnTo>
                    <a:pt x="1349" y="4014"/>
                  </a:lnTo>
                  <a:lnTo>
                    <a:pt x="1342" y="4041"/>
                  </a:lnTo>
                  <a:lnTo>
                    <a:pt x="1294" y="4076"/>
                  </a:lnTo>
                  <a:lnTo>
                    <a:pt x="1294" y="4104"/>
                  </a:lnTo>
                  <a:lnTo>
                    <a:pt x="1349" y="4139"/>
                  </a:lnTo>
                  <a:lnTo>
                    <a:pt x="1356" y="4166"/>
                  </a:lnTo>
                  <a:lnTo>
                    <a:pt x="1328" y="4236"/>
                  </a:lnTo>
                  <a:lnTo>
                    <a:pt x="1349" y="4257"/>
                  </a:lnTo>
                  <a:lnTo>
                    <a:pt x="1315" y="4264"/>
                  </a:lnTo>
                  <a:lnTo>
                    <a:pt x="1315" y="4278"/>
                  </a:lnTo>
                  <a:lnTo>
                    <a:pt x="1252" y="4278"/>
                  </a:lnTo>
                  <a:lnTo>
                    <a:pt x="1245" y="4257"/>
                  </a:lnTo>
                  <a:lnTo>
                    <a:pt x="1210" y="4201"/>
                  </a:lnTo>
                  <a:lnTo>
                    <a:pt x="1217" y="4271"/>
                  </a:lnTo>
                  <a:lnTo>
                    <a:pt x="1155" y="4264"/>
                  </a:lnTo>
                  <a:lnTo>
                    <a:pt x="1155" y="4257"/>
                  </a:lnTo>
                  <a:lnTo>
                    <a:pt x="1155" y="4201"/>
                  </a:lnTo>
                  <a:lnTo>
                    <a:pt x="1169" y="4111"/>
                  </a:lnTo>
                  <a:lnTo>
                    <a:pt x="1113" y="4083"/>
                  </a:lnTo>
                  <a:lnTo>
                    <a:pt x="1113" y="4034"/>
                  </a:lnTo>
                  <a:lnTo>
                    <a:pt x="1092" y="4014"/>
                  </a:lnTo>
                  <a:lnTo>
                    <a:pt x="1071" y="3979"/>
                  </a:lnTo>
                  <a:lnTo>
                    <a:pt x="1071" y="3986"/>
                  </a:lnTo>
                  <a:lnTo>
                    <a:pt x="1002" y="4000"/>
                  </a:lnTo>
                  <a:lnTo>
                    <a:pt x="981" y="3972"/>
                  </a:lnTo>
                  <a:lnTo>
                    <a:pt x="960" y="3979"/>
                  </a:lnTo>
                  <a:lnTo>
                    <a:pt x="932" y="3979"/>
                  </a:lnTo>
                  <a:lnTo>
                    <a:pt x="925" y="3944"/>
                  </a:lnTo>
                  <a:lnTo>
                    <a:pt x="897" y="3909"/>
                  </a:lnTo>
                  <a:lnTo>
                    <a:pt x="932" y="3874"/>
                  </a:lnTo>
                  <a:lnTo>
                    <a:pt x="918" y="3839"/>
                  </a:lnTo>
                  <a:lnTo>
                    <a:pt x="897" y="3833"/>
                  </a:lnTo>
                  <a:lnTo>
                    <a:pt x="862" y="3819"/>
                  </a:lnTo>
                  <a:lnTo>
                    <a:pt x="862" y="3805"/>
                  </a:lnTo>
                  <a:lnTo>
                    <a:pt x="855" y="3798"/>
                  </a:lnTo>
                  <a:lnTo>
                    <a:pt x="807" y="3756"/>
                  </a:lnTo>
                  <a:lnTo>
                    <a:pt x="800" y="3735"/>
                  </a:lnTo>
                  <a:lnTo>
                    <a:pt x="765" y="3701"/>
                  </a:lnTo>
                  <a:lnTo>
                    <a:pt x="772" y="3680"/>
                  </a:lnTo>
                  <a:lnTo>
                    <a:pt x="786" y="3673"/>
                  </a:lnTo>
                  <a:lnTo>
                    <a:pt x="786" y="3645"/>
                  </a:lnTo>
                  <a:lnTo>
                    <a:pt x="758" y="3610"/>
                  </a:lnTo>
                  <a:lnTo>
                    <a:pt x="723" y="3610"/>
                  </a:lnTo>
                  <a:lnTo>
                    <a:pt x="696" y="3617"/>
                  </a:lnTo>
                  <a:lnTo>
                    <a:pt x="675" y="3603"/>
                  </a:lnTo>
                  <a:lnTo>
                    <a:pt x="654" y="3547"/>
                  </a:lnTo>
                  <a:lnTo>
                    <a:pt x="654" y="3492"/>
                  </a:lnTo>
                  <a:lnTo>
                    <a:pt x="640" y="3485"/>
                  </a:lnTo>
                  <a:lnTo>
                    <a:pt x="654" y="3478"/>
                  </a:lnTo>
                  <a:lnTo>
                    <a:pt x="640" y="3471"/>
                  </a:lnTo>
                  <a:lnTo>
                    <a:pt x="633" y="3471"/>
                  </a:lnTo>
                  <a:lnTo>
                    <a:pt x="633" y="3450"/>
                  </a:lnTo>
                  <a:lnTo>
                    <a:pt x="605" y="3457"/>
                  </a:lnTo>
                  <a:lnTo>
                    <a:pt x="598" y="3478"/>
                  </a:lnTo>
                  <a:lnTo>
                    <a:pt x="591" y="3457"/>
                  </a:lnTo>
                  <a:lnTo>
                    <a:pt x="556" y="3478"/>
                  </a:lnTo>
                  <a:lnTo>
                    <a:pt x="529" y="3485"/>
                  </a:lnTo>
                  <a:lnTo>
                    <a:pt x="515" y="3478"/>
                  </a:lnTo>
                  <a:lnTo>
                    <a:pt x="515" y="3492"/>
                  </a:lnTo>
                  <a:lnTo>
                    <a:pt x="501" y="3492"/>
                  </a:lnTo>
                  <a:lnTo>
                    <a:pt x="508" y="3513"/>
                  </a:lnTo>
                  <a:lnTo>
                    <a:pt x="480" y="3506"/>
                  </a:lnTo>
                  <a:lnTo>
                    <a:pt x="494" y="3513"/>
                  </a:lnTo>
                  <a:lnTo>
                    <a:pt x="480" y="3526"/>
                  </a:lnTo>
                  <a:lnTo>
                    <a:pt x="445" y="3526"/>
                  </a:lnTo>
                  <a:lnTo>
                    <a:pt x="459" y="3547"/>
                  </a:lnTo>
                  <a:lnTo>
                    <a:pt x="431" y="3554"/>
                  </a:lnTo>
                  <a:lnTo>
                    <a:pt x="403" y="3554"/>
                  </a:lnTo>
                  <a:lnTo>
                    <a:pt x="403" y="3526"/>
                  </a:lnTo>
                  <a:lnTo>
                    <a:pt x="368" y="3526"/>
                  </a:lnTo>
                  <a:lnTo>
                    <a:pt x="334" y="3492"/>
                  </a:lnTo>
                  <a:lnTo>
                    <a:pt x="334" y="3513"/>
                  </a:lnTo>
                  <a:lnTo>
                    <a:pt x="306" y="3526"/>
                  </a:lnTo>
                  <a:lnTo>
                    <a:pt x="250" y="3506"/>
                  </a:lnTo>
                  <a:lnTo>
                    <a:pt x="229" y="3478"/>
                  </a:lnTo>
                  <a:lnTo>
                    <a:pt x="236" y="3443"/>
                  </a:lnTo>
                  <a:lnTo>
                    <a:pt x="229" y="3443"/>
                  </a:lnTo>
                  <a:lnTo>
                    <a:pt x="229" y="3422"/>
                  </a:lnTo>
                  <a:lnTo>
                    <a:pt x="236" y="3415"/>
                  </a:lnTo>
                  <a:lnTo>
                    <a:pt x="215" y="3387"/>
                  </a:lnTo>
                  <a:lnTo>
                    <a:pt x="188" y="3380"/>
                  </a:lnTo>
                  <a:lnTo>
                    <a:pt x="188" y="3374"/>
                  </a:lnTo>
                  <a:lnTo>
                    <a:pt x="181" y="3353"/>
                  </a:lnTo>
                  <a:lnTo>
                    <a:pt x="174" y="3346"/>
                  </a:lnTo>
                  <a:lnTo>
                    <a:pt x="181" y="3311"/>
                  </a:lnTo>
                  <a:lnTo>
                    <a:pt x="146" y="3290"/>
                  </a:lnTo>
                  <a:lnTo>
                    <a:pt x="139" y="3255"/>
                  </a:lnTo>
                  <a:lnTo>
                    <a:pt x="76" y="3228"/>
                  </a:lnTo>
                  <a:lnTo>
                    <a:pt x="83" y="3220"/>
                  </a:lnTo>
                  <a:lnTo>
                    <a:pt x="76" y="3207"/>
                  </a:lnTo>
                  <a:lnTo>
                    <a:pt x="69" y="3179"/>
                  </a:lnTo>
                  <a:lnTo>
                    <a:pt x="132" y="3130"/>
                  </a:lnTo>
                  <a:lnTo>
                    <a:pt x="118" y="3123"/>
                  </a:lnTo>
                  <a:lnTo>
                    <a:pt x="83" y="3123"/>
                  </a:lnTo>
                  <a:lnTo>
                    <a:pt x="76" y="3144"/>
                  </a:lnTo>
                  <a:lnTo>
                    <a:pt x="41" y="3151"/>
                  </a:lnTo>
                  <a:lnTo>
                    <a:pt x="35" y="3144"/>
                  </a:lnTo>
                  <a:lnTo>
                    <a:pt x="35" y="3130"/>
                  </a:lnTo>
                  <a:lnTo>
                    <a:pt x="69" y="3123"/>
                  </a:lnTo>
                  <a:lnTo>
                    <a:pt x="35" y="3081"/>
                  </a:lnTo>
                  <a:lnTo>
                    <a:pt x="56" y="3067"/>
                  </a:lnTo>
                  <a:lnTo>
                    <a:pt x="48" y="3053"/>
                  </a:lnTo>
                  <a:lnTo>
                    <a:pt x="41" y="3053"/>
                  </a:lnTo>
                  <a:lnTo>
                    <a:pt x="83" y="3047"/>
                  </a:lnTo>
                  <a:lnTo>
                    <a:pt x="41" y="3033"/>
                  </a:lnTo>
                  <a:lnTo>
                    <a:pt x="35" y="3019"/>
                  </a:lnTo>
                  <a:lnTo>
                    <a:pt x="48" y="3033"/>
                  </a:lnTo>
                  <a:lnTo>
                    <a:pt x="69" y="3019"/>
                  </a:lnTo>
                  <a:lnTo>
                    <a:pt x="48" y="2998"/>
                  </a:lnTo>
                  <a:lnTo>
                    <a:pt x="48" y="2963"/>
                  </a:lnTo>
                  <a:lnTo>
                    <a:pt x="14" y="2977"/>
                  </a:lnTo>
                  <a:lnTo>
                    <a:pt x="21" y="2949"/>
                  </a:lnTo>
                  <a:lnTo>
                    <a:pt x="0" y="2928"/>
                  </a:lnTo>
                  <a:lnTo>
                    <a:pt x="14" y="2894"/>
                  </a:lnTo>
                  <a:lnTo>
                    <a:pt x="56" y="2886"/>
                  </a:lnTo>
                  <a:lnTo>
                    <a:pt x="41" y="2824"/>
                  </a:lnTo>
                  <a:lnTo>
                    <a:pt x="83" y="2789"/>
                  </a:lnTo>
                  <a:lnTo>
                    <a:pt x="104" y="2817"/>
                  </a:lnTo>
                  <a:lnTo>
                    <a:pt x="146" y="2817"/>
                  </a:lnTo>
                  <a:lnTo>
                    <a:pt x="181" y="2796"/>
                  </a:lnTo>
                  <a:lnTo>
                    <a:pt x="202" y="2796"/>
                  </a:lnTo>
                  <a:lnTo>
                    <a:pt x="208" y="2824"/>
                  </a:lnTo>
                  <a:lnTo>
                    <a:pt x="208" y="2831"/>
                  </a:lnTo>
                  <a:lnTo>
                    <a:pt x="250" y="2866"/>
                  </a:lnTo>
                  <a:lnTo>
                    <a:pt x="250" y="2886"/>
                  </a:lnTo>
                  <a:lnTo>
                    <a:pt x="250" y="2914"/>
                  </a:lnTo>
                  <a:lnTo>
                    <a:pt x="264" y="2928"/>
                  </a:lnTo>
                  <a:lnTo>
                    <a:pt x="306" y="2935"/>
                  </a:lnTo>
                  <a:lnTo>
                    <a:pt x="334" y="2914"/>
                  </a:lnTo>
                  <a:lnTo>
                    <a:pt x="334" y="2921"/>
                  </a:lnTo>
                  <a:lnTo>
                    <a:pt x="348" y="2921"/>
                  </a:lnTo>
                  <a:lnTo>
                    <a:pt x="368" y="2838"/>
                  </a:lnTo>
                  <a:lnTo>
                    <a:pt x="396" y="2852"/>
                  </a:lnTo>
                  <a:lnTo>
                    <a:pt x="431" y="2803"/>
                  </a:lnTo>
                  <a:lnTo>
                    <a:pt x="431" y="2796"/>
                  </a:lnTo>
                  <a:lnTo>
                    <a:pt x="382" y="2789"/>
                  </a:lnTo>
                  <a:lnTo>
                    <a:pt x="362" y="2754"/>
                  </a:lnTo>
                  <a:lnTo>
                    <a:pt x="362" y="2747"/>
                  </a:lnTo>
                  <a:lnTo>
                    <a:pt x="375" y="2754"/>
                  </a:lnTo>
                  <a:lnTo>
                    <a:pt x="431" y="2754"/>
                  </a:lnTo>
                  <a:lnTo>
                    <a:pt x="438" y="2727"/>
                  </a:lnTo>
                  <a:lnTo>
                    <a:pt x="494" y="2747"/>
                  </a:lnTo>
                  <a:lnTo>
                    <a:pt x="529" y="2720"/>
                  </a:lnTo>
                  <a:lnTo>
                    <a:pt x="535" y="2727"/>
                  </a:lnTo>
                  <a:lnTo>
                    <a:pt x="563" y="2720"/>
                  </a:lnTo>
                  <a:lnTo>
                    <a:pt x="556" y="2699"/>
                  </a:lnTo>
                  <a:lnTo>
                    <a:pt x="529" y="2657"/>
                  </a:lnTo>
                  <a:lnTo>
                    <a:pt x="535" y="2629"/>
                  </a:lnTo>
                  <a:lnTo>
                    <a:pt x="515" y="2629"/>
                  </a:lnTo>
                  <a:lnTo>
                    <a:pt x="508" y="2636"/>
                  </a:lnTo>
                  <a:lnTo>
                    <a:pt x="494" y="2573"/>
                  </a:lnTo>
                  <a:lnTo>
                    <a:pt x="480" y="2567"/>
                  </a:lnTo>
                  <a:lnTo>
                    <a:pt x="473" y="2567"/>
                  </a:lnTo>
                  <a:lnTo>
                    <a:pt x="473" y="2560"/>
                  </a:lnTo>
                  <a:lnTo>
                    <a:pt x="473" y="2518"/>
                  </a:lnTo>
                  <a:lnTo>
                    <a:pt x="466" y="2518"/>
                  </a:lnTo>
                  <a:lnTo>
                    <a:pt x="445" y="2518"/>
                  </a:lnTo>
                  <a:lnTo>
                    <a:pt x="424" y="2490"/>
                  </a:lnTo>
                  <a:lnTo>
                    <a:pt x="362" y="2469"/>
                  </a:lnTo>
                  <a:lnTo>
                    <a:pt x="348" y="2434"/>
                  </a:lnTo>
                  <a:lnTo>
                    <a:pt x="362" y="2421"/>
                  </a:lnTo>
                  <a:lnTo>
                    <a:pt x="341" y="2393"/>
                  </a:lnTo>
                  <a:lnTo>
                    <a:pt x="334" y="2365"/>
                  </a:lnTo>
                  <a:lnTo>
                    <a:pt x="334" y="2358"/>
                  </a:lnTo>
                  <a:lnTo>
                    <a:pt x="334" y="2344"/>
                  </a:lnTo>
                  <a:lnTo>
                    <a:pt x="313" y="2309"/>
                  </a:lnTo>
                  <a:lnTo>
                    <a:pt x="334" y="2274"/>
                  </a:lnTo>
                  <a:lnTo>
                    <a:pt x="313" y="2240"/>
                  </a:lnTo>
                  <a:lnTo>
                    <a:pt x="299" y="2226"/>
                  </a:lnTo>
                  <a:lnTo>
                    <a:pt x="264" y="2212"/>
                  </a:lnTo>
                  <a:lnTo>
                    <a:pt x="264" y="2191"/>
                  </a:lnTo>
                  <a:lnTo>
                    <a:pt x="271" y="2170"/>
                  </a:lnTo>
                  <a:lnTo>
                    <a:pt x="299" y="2191"/>
                  </a:lnTo>
                  <a:lnTo>
                    <a:pt x="306" y="2177"/>
                  </a:lnTo>
                  <a:lnTo>
                    <a:pt x="278" y="2135"/>
                  </a:lnTo>
                  <a:lnTo>
                    <a:pt x="285" y="2100"/>
                  </a:lnTo>
                  <a:lnTo>
                    <a:pt x="243" y="2100"/>
                  </a:lnTo>
                  <a:lnTo>
                    <a:pt x="229" y="2080"/>
                  </a:lnTo>
                  <a:lnTo>
                    <a:pt x="229" y="2066"/>
                  </a:lnTo>
                  <a:lnTo>
                    <a:pt x="243" y="2010"/>
                  </a:lnTo>
                  <a:lnTo>
                    <a:pt x="229" y="1996"/>
                  </a:lnTo>
                  <a:lnTo>
                    <a:pt x="146" y="1975"/>
                  </a:lnTo>
                  <a:lnTo>
                    <a:pt x="132" y="1934"/>
                  </a:lnTo>
                  <a:lnTo>
                    <a:pt x="83" y="1878"/>
                  </a:lnTo>
                  <a:lnTo>
                    <a:pt x="76" y="1843"/>
                  </a:lnTo>
                  <a:lnTo>
                    <a:pt x="83" y="1829"/>
                  </a:lnTo>
                  <a:lnTo>
                    <a:pt x="118" y="1787"/>
                  </a:lnTo>
                  <a:lnTo>
                    <a:pt x="146" y="1746"/>
                  </a:lnTo>
                  <a:lnTo>
                    <a:pt x="146" y="1739"/>
                  </a:lnTo>
                  <a:lnTo>
                    <a:pt x="146" y="1732"/>
                  </a:lnTo>
                  <a:lnTo>
                    <a:pt x="146" y="1704"/>
                  </a:lnTo>
                  <a:lnTo>
                    <a:pt x="139" y="1690"/>
                  </a:lnTo>
                  <a:lnTo>
                    <a:pt x="104" y="1614"/>
                  </a:lnTo>
                  <a:lnTo>
                    <a:pt x="167" y="1537"/>
                  </a:lnTo>
                  <a:lnTo>
                    <a:pt x="250" y="1454"/>
                  </a:lnTo>
                  <a:lnTo>
                    <a:pt x="285" y="1419"/>
                  </a:lnTo>
                  <a:lnTo>
                    <a:pt x="313" y="1391"/>
                  </a:lnTo>
                  <a:lnTo>
                    <a:pt x="327" y="1384"/>
                  </a:lnTo>
                  <a:lnTo>
                    <a:pt x="341" y="1370"/>
                  </a:lnTo>
                  <a:lnTo>
                    <a:pt x="368" y="1321"/>
                  </a:lnTo>
                  <a:lnTo>
                    <a:pt x="368" y="1314"/>
                  </a:lnTo>
                  <a:lnTo>
                    <a:pt x="368" y="1308"/>
                  </a:lnTo>
                  <a:lnTo>
                    <a:pt x="362" y="1308"/>
                  </a:lnTo>
                  <a:lnTo>
                    <a:pt x="341" y="1231"/>
                  </a:lnTo>
                  <a:lnTo>
                    <a:pt x="341" y="1182"/>
                  </a:lnTo>
                  <a:lnTo>
                    <a:pt x="348" y="1175"/>
                  </a:lnTo>
                  <a:lnTo>
                    <a:pt x="396" y="1120"/>
                  </a:lnTo>
                  <a:lnTo>
                    <a:pt x="431" y="1161"/>
                  </a:lnTo>
                  <a:lnTo>
                    <a:pt x="466" y="1182"/>
                  </a:lnTo>
                  <a:lnTo>
                    <a:pt x="508" y="1175"/>
                  </a:lnTo>
                  <a:lnTo>
                    <a:pt x="563" y="1217"/>
                  </a:lnTo>
                  <a:lnTo>
                    <a:pt x="570" y="1217"/>
                  </a:lnTo>
                  <a:lnTo>
                    <a:pt x="563" y="1280"/>
                  </a:lnTo>
                  <a:lnTo>
                    <a:pt x="542" y="1273"/>
                  </a:lnTo>
                  <a:lnTo>
                    <a:pt x="535" y="1294"/>
                  </a:lnTo>
                  <a:lnTo>
                    <a:pt x="535" y="1314"/>
                  </a:lnTo>
                  <a:lnTo>
                    <a:pt x="501" y="1342"/>
                  </a:lnTo>
                  <a:lnTo>
                    <a:pt x="473" y="1384"/>
                  </a:lnTo>
                  <a:lnTo>
                    <a:pt x="459" y="1412"/>
                  </a:lnTo>
                  <a:lnTo>
                    <a:pt x="515" y="1412"/>
                  </a:lnTo>
                  <a:lnTo>
                    <a:pt x="556" y="1426"/>
                  </a:lnTo>
                  <a:lnTo>
                    <a:pt x="563" y="1440"/>
                  </a:lnTo>
                  <a:lnTo>
                    <a:pt x="626" y="1481"/>
                  </a:lnTo>
                  <a:lnTo>
                    <a:pt x="640" y="1474"/>
                  </a:lnTo>
                  <a:lnTo>
                    <a:pt x="654" y="1544"/>
                  </a:lnTo>
                  <a:lnTo>
                    <a:pt x="668" y="1558"/>
                  </a:lnTo>
                  <a:lnTo>
                    <a:pt x="696" y="1606"/>
                  </a:lnTo>
                  <a:lnTo>
                    <a:pt x="696" y="1614"/>
                  </a:lnTo>
                  <a:lnTo>
                    <a:pt x="709" y="1669"/>
                  </a:lnTo>
                  <a:lnTo>
                    <a:pt x="723" y="1669"/>
                  </a:lnTo>
                  <a:lnTo>
                    <a:pt x="675" y="1732"/>
                  </a:lnTo>
                  <a:lnTo>
                    <a:pt x="668" y="1753"/>
                  </a:lnTo>
                  <a:lnTo>
                    <a:pt x="696" y="1746"/>
                  </a:lnTo>
                  <a:lnTo>
                    <a:pt x="744" y="1732"/>
                  </a:lnTo>
                  <a:lnTo>
                    <a:pt x="758" y="1739"/>
                  </a:lnTo>
                  <a:lnTo>
                    <a:pt x="765" y="1753"/>
                  </a:lnTo>
                  <a:lnTo>
                    <a:pt x="807" y="1746"/>
                  </a:lnTo>
                  <a:lnTo>
                    <a:pt x="807" y="1767"/>
                  </a:lnTo>
                  <a:lnTo>
                    <a:pt x="835" y="1781"/>
                  </a:lnTo>
                  <a:lnTo>
                    <a:pt x="855" y="1773"/>
                  </a:lnTo>
                  <a:lnTo>
                    <a:pt x="869" y="1773"/>
                  </a:lnTo>
                  <a:lnTo>
                    <a:pt x="883" y="1732"/>
                  </a:lnTo>
                  <a:lnTo>
                    <a:pt x="897" y="1711"/>
                  </a:lnTo>
                  <a:lnTo>
                    <a:pt x="918" y="1655"/>
                  </a:lnTo>
                  <a:lnTo>
                    <a:pt x="939" y="1641"/>
                  </a:lnTo>
                  <a:lnTo>
                    <a:pt x="960" y="1606"/>
                  </a:lnTo>
                  <a:lnTo>
                    <a:pt x="939" y="1600"/>
                  </a:lnTo>
                  <a:lnTo>
                    <a:pt x="939" y="1586"/>
                  </a:lnTo>
                  <a:lnTo>
                    <a:pt x="897" y="1558"/>
                  </a:lnTo>
                  <a:lnTo>
                    <a:pt x="862" y="1544"/>
                  </a:lnTo>
                  <a:lnTo>
                    <a:pt x="855" y="1523"/>
                  </a:lnTo>
                  <a:lnTo>
                    <a:pt x="842" y="1502"/>
                  </a:lnTo>
                  <a:lnTo>
                    <a:pt x="842" y="1481"/>
                  </a:lnTo>
                  <a:lnTo>
                    <a:pt x="807" y="1454"/>
                  </a:lnTo>
                  <a:lnTo>
                    <a:pt x="807" y="1440"/>
                  </a:lnTo>
                  <a:lnTo>
                    <a:pt x="862" y="1405"/>
                  </a:lnTo>
                  <a:lnTo>
                    <a:pt x="835" y="1328"/>
                  </a:lnTo>
                  <a:lnTo>
                    <a:pt x="842" y="1280"/>
                  </a:lnTo>
                  <a:lnTo>
                    <a:pt x="939" y="1245"/>
                  </a:lnTo>
                  <a:lnTo>
                    <a:pt x="967" y="1196"/>
                  </a:lnTo>
                  <a:lnTo>
                    <a:pt x="953" y="1120"/>
                  </a:lnTo>
                  <a:lnTo>
                    <a:pt x="1002" y="1092"/>
                  </a:lnTo>
                  <a:lnTo>
                    <a:pt x="1015" y="1092"/>
                  </a:lnTo>
                  <a:lnTo>
                    <a:pt x="1057" y="1043"/>
                  </a:lnTo>
                  <a:lnTo>
                    <a:pt x="1099" y="1015"/>
                  </a:lnTo>
                  <a:lnTo>
                    <a:pt x="1120" y="1015"/>
                  </a:lnTo>
                  <a:lnTo>
                    <a:pt x="1148" y="981"/>
                  </a:lnTo>
                  <a:lnTo>
                    <a:pt x="1155" y="925"/>
                  </a:lnTo>
                  <a:lnTo>
                    <a:pt x="1182" y="911"/>
                  </a:lnTo>
                  <a:lnTo>
                    <a:pt x="1189" y="883"/>
                  </a:lnTo>
                  <a:lnTo>
                    <a:pt x="1224" y="869"/>
                  </a:lnTo>
                  <a:lnTo>
                    <a:pt x="1231" y="814"/>
                  </a:lnTo>
                  <a:lnTo>
                    <a:pt x="1287" y="730"/>
                  </a:lnTo>
                  <a:lnTo>
                    <a:pt x="1294" y="695"/>
                  </a:lnTo>
                  <a:lnTo>
                    <a:pt x="1301" y="668"/>
                  </a:lnTo>
                  <a:lnTo>
                    <a:pt x="1301" y="626"/>
                  </a:lnTo>
                  <a:lnTo>
                    <a:pt x="1280" y="591"/>
                  </a:lnTo>
                  <a:lnTo>
                    <a:pt x="1287" y="535"/>
                  </a:lnTo>
                  <a:lnTo>
                    <a:pt x="1280" y="521"/>
                  </a:lnTo>
                  <a:lnTo>
                    <a:pt x="1266" y="466"/>
                  </a:lnTo>
                  <a:lnTo>
                    <a:pt x="1231" y="452"/>
                  </a:lnTo>
                  <a:lnTo>
                    <a:pt x="1224" y="403"/>
                  </a:lnTo>
                  <a:lnTo>
                    <a:pt x="1259" y="389"/>
                  </a:lnTo>
                  <a:lnTo>
                    <a:pt x="1280" y="306"/>
                  </a:lnTo>
                  <a:lnTo>
                    <a:pt x="1315" y="292"/>
                  </a:lnTo>
                  <a:lnTo>
                    <a:pt x="1426" y="278"/>
                  </a:lnTo>
                  <a:lnTo>
                    <a:pt x="1419" y="299"/>
                  </a:lnTo>
                  <a:lnTo>
                    <a:pt x="1454" y="334"/>
                  </a:lnTo>
                  <a:lnTo>
                    <a:pt x="1488" y="361"/>
                  </a:lnTo>
                  <a:lnTo>
                    <a:pt x="1516" y="327"/>
                  </a:lnTo>
                  <a:lnTo>
                    <a:pt x="1544" y="292"/>
                  </a:lnTo>
                  <a:lnTo>
                    <a:pt x="1579" y="278"/>
                  </a:lnTo>
                  <a:lnTo>
                    <a:pt x="1586" y="361"/>
                  </a:lnTo>
                  <a:lnTo>
                    <a:pt x="1579" y="487"/>
                  </a:lnTo>
                  <a:lnTo>
                    <a:pt x="1586" y="549"/>
                  </a:lnTo>
                  <a:lnTo>
                    <a:pt x="1586" y="570"/>
                  </a:lnTo>
                  <a:lnTo>
                    <a:pt x="1621" y="584"/>
                  </a:lnTo>
                  <a:lnTo>
                    <a:pt x="1655" y="626"/>
                  </a:lnTo>
                  <a:lnTo>
                    <a:pt x="1704" y="702"/>
                  </a:lnTo>
                  <a:lnTo>
                    <a:pt x="1718" y="723"/>
                  </a:lnTo>
                  <a:lnTo>
                    <a:pt x="1746" y="723"/>
                  </a:lnTo>
                  <a:lnTo>
                    <a:pt x="1781" y="737"/>
                  </a:lnTo>
                  <a:lnTo>
                    <a:pt x="1878" y="751"/>
                  </a:lnTo>
                  <a:lnTo>
                    <a:pt x="1941" y="730"/>
                  </a:lnTo>
                  <a:lnTo>
                    <a:pt x="1996" y="737"/>
                  </a:lnTo>
                  <a:lnTo>
                    <a:pt x="2010" y="681"/>
                  </a:lnTo>
                  <a:lnTo>
                    <a:pt x="2010" y="660"/>
                  </a:lnTo>
                  <a:lnTo>
                    <a:pt x="2031" y="626"/>
                  </a:lnTo>
                  <a:lnTo>
                    <a:pt x="2045" y="626"/>
                  </a:lnTo>
                  <a:lnTo>
                    <a:pt x="2101" y="654"/>
                  </a:lnTo>
                  <a:lnTo>
                    <a:pt x="2170" y="619"/>
                  </a:lnTo>
                  <a:lnTo>
                    <a:pt x="2198" y="591"/>
                  </a:lnTo>
                  <a:lnTo>
                    <a:pt x="2268" y="584"/>
                  </a:lnTo>
                  <a:lnTo>
                    <a:pt x="2309" y="556"/>
                  </a:lnTo>
                  <a:lnTo>
                    <a:pt x="2337" y="584"/>
                  </a:lnTo>
                  <a:lnTo>
                    <a:pt x="2379" y="556"/>
                  </a:lnTo>
                  <a:lnTo>
                    <a:pt x="2435" y="619"/>
                  </a:lnTo>
                  <a:lnTo>
                    <a:pt x="2455" y="626"/>
                  </a:lnTo>
                  <a:lnTo>
                    <a:pt x="2441" y="688"/>
                  </a:lnTo>
                  <a:lnTo>
                    <a:pt x="2462" y="702"/>
                  </a:lnTo>
                  <a:lnTo>
                    <a:pt x="2455" y="758"/>
                  </a:lnTo>
                  <a:lnTo>
                    <a:pt x="2462" y="765"/>
                  </a:lnTo>
                  <a:lnTo>
                    <a:pt x="2546" y="814"/>
                  </a:lnTo>
                  <a:lnTo>
                    <a:pt x="2546" y="869"/>
                  </a:lnTo>
                  <a:lnTo>
                    <a:pt x="2539" y="890"/>
                  </a:lnTo>
                  <a:lnTo>
                    <a:pt x="2587" y="911"/>
                  </a:lnTo>
                  <a:lnTo>
                    <a:pt x="2622" y="883"/>
                  </a:lnTo>
                  <a:lnTo>
                    <a:pt x="2629" y="890"/>
                  </a:lnTo>
                  <a:lnTo>
                    <a:pt x="2685" y="890"/>
                  </a:lnTo>
                  <a:lnTo>
                    <a:pt x="2755" y="820"/>
                  </a:lnTo>
                  <a:lnTo>
                    <a:pt x="2734" y="786"/>
                  </a:lnTo>
                  <a:lnTo>
                    <a:pt x="2727" y="779"/>
                  </a:lnTo>
                  <a:lnTo>
                    <a:pt x="2692" y="716"/>
                  </a:lnTo>
                  <a:lnTo>
                    <a:pt x="2643" y="681"/>
                  </a:lnTo>
                  <a:lnTo>
                    <a:pt x="2636" y="640"/>
                  </a:lnTo>
                  <a:lnTo>
                    <a:pt x="2643" y="619"/>
                  </a:lnTo>
                  <a:lnTo>
                    <a:pt x="2671" y="591"/>
                  </a:lnTo>
                  <a:lnTo>
                    <a:pt x="2685" y="556"/>
                  </a:lnTo>
                  <a:lnTo>
                    <a:pt x="2727" y="535"/>
                  </a:lnTo>
                  <a:lnTo>
                    <a:pt x="2734" y="493"/>
                  </a:lnTo>
                  <a:lnTo>
                    <a:pt x="2720" y="473"/>
                  </a:lnTo>
                  <a:lnTo>
                    <a:pt x="2706" y="459"/>
                  </a:lnTo>
                  <a:lnTo>
                    <a:pt x="2685" y="438"/>
                  </a:lnTo>
                  <a:lnTo>
                    <a:pt x="2629" y="466"/>
                  </a:lnTo>
                  <a:lnTo>
                    <a:pt x="2574" y="459"/>
                  </a:lnTo>
                  <a:lnTo>
                    <a:pt x="2560" y="431"/>
                  </a:lnTo>
                  <a:lnTo>
                    <a:pt x="2532" y="424"/>
                  </a:lnTo>
                  <a:lnTo>
                    <a:pt x="2539" y="389"/>
                  </a:lnTo>
                  <a:lnTo>
                    <a:pt x="2539" y="292"/>
                  </a:lnTo>
                  <a:lnTo>
                    <a:pt x="2539" y="264"/>
                  </a:lnTo>
                  <a:lnTo>
                    <a:pt x="2532" y="208"/>
                  </a:lnTo>
                  <a:lnTo>
                    <a:pt x="2595" y="160"/>
                  </a:lnTo>
                  <a:lnTo>
                    <a:pt x="2595" y="132"/>
                  </a:lnTo>
                  <a:lnTo>
                    <a:pt x="2622" y="125"/>
                  </a:lnTo>
                  <a:lnTo>
                    <a:pt x="2629" y="48"/>
                  </a:lnTo>
                  <a:lnTo>
                    <a:pt x="2657" y="48"/>
                  </a:lnTo>
                  <a:lnTo>
                    <a:pt x="2762" y="14"/>
                  </a:lnTo>
                  <a:lnTo>
                    <a:pt x="2817" y="28"/>
                  </a:lnTo>
                  <a:lnTo>
                    <a:pt x="2852" y="0"/>
                  </a:lnTo>
                  <a:lnTo>
                    <a:pt x="2887" y="41"/>
                  </a:lnTo>
                  <a:lnTo>
                    <a:pt x="2859" y="90"/>
                  </a:lnTo>
                  <a:lnTo>
                    <a:pt x="2873" y="132"/>
                  </a:lnTo>
                  <a:lnTo>
                    <a:pt x="2914" y="132"/>
                  </a:lnTo>
                  <a:lnTo>
                    <a:pt x="2956" y="167"/>
                  </a:lnTo>
                  <a:lnTo>
                    <a:pt x="2963" y="180"/>
                  </a:lnTo>
                  <a:lnTo>
                    <a:pt x="3012" y="180"/>
                  </a:lnTo>
                  <a:lnTo>
                    <a:pt x="3026" y="195"/>
                  </a:lnTo>
                  <a:lnTo>
                    <a:pt x="3054" y="167"/>
                  </a:lnTo>
                  <a:lnTo>
                    <a:pt x="3130" y="195"/>
                  </a:lnTo>
                  <a:lnTo>
                    <a:pt x="3158" y="180"/>
                  </a:lnTo>
                  <a:lnTo>
                    <a:pt x="3179" y="201"/>
                  </a:lnTo>
                  <a:lnTo>
                    <a:pt x="3200" y="222"/>
                  </a:lnTo>
                  <a:lnTo>
                    <a:pt x="3214" y="264"/>
                  </a:lnTo>
                  <a:lnTo>
                    <a:pt x="3248" y="299"/>
                  </a:lnTo>
                  <a:lnTo>
                    <a:pt x="3332" y="299"/>
                  </a:lnTo>
                  <a:lnTo>
                    <a:pt x="3381" y="327"/>
                  </a:lnTo>
                  <a:lnTo>
                    <a:pt x="3450" y="361"/>
                  </a:lnTo>
                  <a:lnTo>
                    <a:pt x="3492" y="403"/>
                  </a:lnTo>
                  <a:lnTo>
                    <a:pt x="3485" y="459"/>
                  </a:lnTo>
                  <a:lnTo>
                    <a:pt x="3506" y="493"/>
                  </a:lnTo>
                  <a:lnTo>
                    <a:pt x="3471" y="556"/>
                  </a:lnTo>
                  <a:lnTo>
                    <a:pt x="3408" y="563"/>
                  </a:lnTo>
                  <a:lnTo>
                    <a:pt x="3360" y="584"/>
                  </a:lnTo>
                  <a:lnTo>
                    <a:pt x="3360" y="598"/>
                  </a:lnTo>
                  <a:lnTo>
                    <a:pt x="3332" y="605"/>
                  </a:lnTo>
                  <a:lnTo>
                    <a:pt x="3318" y="633"/>
                  </a:lnTo>
                  <a:lnTo>
                    <a:pt x="3395" y="681"/>
                  </a:lnTo>
                  <a:lnTo>
                    <a:pt x="3415" y="730"/>
                  </a:lnTo>
                  <a:lnTo>
                    <a:pt x="3388" y="765"/>
                  </a:lnTo>
                  <a:lnTo>
                    <a:pt x="3415" y="800"/>
                  </a:lnTo>
                  <a:lnTo>
                    <a:pt x="3422" y="855"/>
                  </a:lnTo>
                  <a:lnTo>
                    <a:pt x="3408" y="890"/>
                  </a:lnTo>
                  <a:lnTo>
                    <a:pt x="3408" y="897"/>
                  </a:lnTo>
                  <a:lnTo>
                    <a:pt x="3360" y="981"/>
                  </a:lnTo>
                  <a:lnTo>
                    <a:pt x="3388" y="1029"/>
                  </a:lnTo>
                  <a:lnTo>
                    <a:pt x="3381" y="1064"/>
                  </a:lnTo>
                  <a:lnTo>
                    <a:pt x="3353" y="1175"/>
                  </a:lnTo>
                  <a:lnTo>
                    <a:pt x="3297" y="1224"/>
                  </a:lnTo>
                  <a:lnTo>
                    <a:pt x="3262" y="1259"/>
                  </a:lnTo>
                  <a:lnTo>
                    <a:pt x="3262" y="1321"/>
                  </a:lnTo>
                  <a:lnTo>
                    <a:pt x="3248" y="1342"/>
                  </a:lnTo>
                  <a:lnTo>
                    <a:pt x="3221" y="1391"/>
                  </a:lnTo>
                  <a:lnTo>
                    <a:pt x="3200" y="1440"/>
                  </a:lnTo>
                  <a:lnTo>
                    <a:pt x="3262" y="1454"/>
                  </a:lnTo>
                  <a:lnTo>
                    <a:pt x="3276" y="1516"/>
                  </a:lnTo>
                  <a:lnTo>
                    <a:pt x="3276" y="1537"/>
                  </a:lnTo>
                  <a:lnTo>
                    <a:pt x="3290" y="1551"/>
                  </a:lnTo>
                  <a:lnTo>
                    <a:pt x="3297" y="1600"/>
                  </a:lnTo>
                  <a:lnTo>
                    <a:pt x="3290" y="1614"/>
                  </a:lnTo>
                  <a:lnTo>
                    <a:pt x="3276" y="1634"/>
                  </a:lnTo>
                  <a:lnTo>
                    <a:pt x="3290" y="1655"/>
                  </a:lnTo>
                  <a:lnTo>
                    <a:pt x="3290" y="1767"/>
                  </a:lnTo>
                  <a:lnTo>
                    <a:pt x="3325" y="1773"/>
                  </a:lnTo>
                  <a:lnTo>
                    <a:pt x="3360" y="1787"/>
                  </a:lnTo>
                  <a:lnTo>
                    <a:pt x="3332" y="1808"/>
                  </a:lnTo>
                  <a:lnTo>
                    <a:pt x="3353" y="1850"/>
                  </a:lnTo>
                  <a:lnTo>
                    <a:pt x="3360" y="1864"/>
                  </a:lnTo>
                  <a:lnTo>
                    <a:pt x="3422" y="1843"/>
                  </a:lnTo>
                  <a:lnTo>
                    <a:pt x="3450" y="1829"/>
                  </a:lnTo>
                  <a:lnTo>
                    <a:pt x="3513" y="1808"/>
                  </a:lnTo>
                  <a:lnTo>
                    <a:pt x="3520" y="1815"/>
                  </a:lnTo>
                  <a:lnTo>
                    <a:pt x="3548" y="1767"/>
                  </a:lnTo>
                  <a:lnTo>
                    <a:pt x="3555" y="1753"/>
                  </a:lnTo>
                  <a:lnTo>
                    <a:pt x="3603" y="1746"/>
                  </a:lnTo>
                  <a:lnTo>
                    <a:pt x="3617" y="1739"/>
                  </a:lnTo>
                  <a:lnTo>
                    <a:pt x="3645" y="1739"/>
                  </a:lnTo>
                  <a:lnTo>
                    <a:pt x="3701" y="1739"/>
                  </a:lnTo>
                  <a:lnTo>
                    <a:pt x="3708" y="1753"/>
                  </a:lnTo>
                  <a:lnTo>
                    <a:pt x="3735" y="1732"/>
                  </a:lnTo>
                  <a:lnTo>
                    <a:pt x="3777" y="1746"/>
                  </a:lnTo>
                  <a:lnTo>
                    <a:pt x="3819" y="1739"/>
                  </a:lnTo>
                  <a:lnTo>
                    <a:pt x="3854" y="1753"/>
                  </a:lnTo>
                  <a:lnTo>
                    <a:pt x="3798" y="1843"/>
                  </a:lnTo>
                  <a:lnTo>
                    <a:pt x="3721" y="1948"/>
                  </a:lnTo>
                  <a:lnTo>
                    <a:pt x="3673" y="2031"/>
                  </a:lnTo>
                  <a:lnTo>
                    <a:pt x="3603" y="2128"/>
                  </a:lnTo>
                  <a:lnTo>
                    <a:pt x="3492" y="2246"/>
                  </a:lnTo>
                  <a:lnTo>
                    <a:pt x="3506" y="2309"/>
                  </a:lnTo>
                  <a:lnTo>
                    <a:pt x="3506" y="2344"/>
                  </a:lnTo>
                  <a:lnTo>
                    <a:pt x="3513" y="2421"/>
                  </a:lnTo>
                  <a:lnTo>
                    <a:pt x="3513" y="2455"/>
                  </a:lnTo>
                  <a:lnTo>
                    <a:pt x="3520" y="2525"/>
                  </a:lnTo>
                  <a:lnTo>
                    <a:pt x="3520" y="2601"/>
                  </a:lnTo>
                  <a:lnTo>
                    <a:pt x="3485" y="2601"/>
                  </a:lnTo>
                  <a:lnTo>
                    <a:pt x="3492" y="2622"/>
                  </a:lnTo>
                  <a:lnTo>
                    <a:pt x="3541" y="2608"/>
                  </a:lnTo>
                  <a:lnTo>
                    <a:pt x="3527" y="2664"/>
                  </a:lnTo>
                  <a:lnTo>
                    <a:pt x="3548" y="2664"/>
                  </a:lnTo>
                  <a:lnTo>
                    <a:pt x="3562" y="2650"/>
                  </a:lnTo>
                  <a:lnTo>
                    <a:pt x="3638" y="2664"/>
                  </a:lnTo>
                  <a:lnTo>
                    <a:pt x="3645" y="2699"/>
                  </a:lnTo>
                  <a:lnTo>
                    <a:pt x="3652" y="2699"/>
                  </a:lnTo>
                  <a:lnTo>
                    <a:pt x="3617" y="2747"/>
                  </a:lnTo>
                  <a:lnTo>
                    <a:pt x="3638" y="2768"/>
                  </a:lnTo>
                  <a:lnTo>
                    <a:pt x="3589" y="2803"/>
                  </a:lnTo>
                  <a:lnTo>
                    <a:pt x="3589" y="2831"/>
                  </a:lnTo>
                  <a:lnTo>
                    <a:pt x="3638" y="2838"/>
                  </a:lnTo>
                  <a:lnTo>
                    <a:pt x="3624" y="2886"/>
                  </a:lnTo>
                  <a:lnTo>
                    <a:pt x="3673" y="2886"/>
                  </a:lnTo>
                  <a:lnTo>
                    <a:pt x="3659" y="2935"/>
                  </a:lnTo>
                  <a:lnTo>
                    <a:pt x="3680" y="2949"/>
                  </a:lnTo>
                  <a:lnTo>
                    <a:pt x="3701" y="2935"/>
                  </a:lnTo>
                  <a:lnTo>
                    <a:pt x="3749" y="2886"/>
                  </a:lnTo>
                  <a:lnTo>
                    <a:pt x="3840" y="2977"/>
                  </a:lnTo>
                  <a:lnTo>
                    <a:pt x="3847" y="2984"/>
                  </a:lnTo>
                  <a:lnTo>
                    <a:pt x="3854" y="3019"/>
                  </a:lnTo>
                  <a:lnTo>
                    <a:pt x="3909" y="3033"/>
                  </a:lnTo>
                  <a:lnTo>
                    <a:pt x="3930" y="3033"/>
                  </a:lnTo>
                  <a:lnTo>
                    <a:pt x="3944" y="3033"/>
                  </a:lnTo>
                  <a:lnTo>
                    <a:pt x="3951" y="3061"/>
                  </a:lnTo>
                  <a:lnTo>
                    <a:pt x="4007" y="3067"/>
                  </a:lnTo>
                  <a:lnTo>
                    <a:pt x="4007" y="3109"/>
                  </a:lnTo>
                  <a:lnTo>
                    <a:pt x="4028" y="3123"/>
                  </a:lnTo>
                  <a:lnTo>
                    <a:pt x="4076" y="3144"/>
                  </a:lnTo>
                  <a:lnTo>
                    <a:pt x="4111" y="3165"/>
                  </a:lnTo>
                  <a:lnTo>
                    <a:pt x="4104" y="3241"/>
                  </a:lnTo>
                  <a:lnTo>
                    <a:pt x="4132" y="3248"/>
                  </a:lnTo>
                  <a:lnTo>
                    <a:pt x="4167" y="3241"/>
                  </a:lnTo>
                  <a:lnTo>
                    <a:pt x="4174" y="3248"/>
                  </a:lnTo>
                  <a:lnTo>
                    <a:pt x="4195" y="3248"/>
                  </a:lnTo>
                  <a:lnTo>
                    <a:pt x="4181" y="3283"/>
                  </a:lnTo>
                  <a:lnTo>
                    <a:pt x="4167" y="3311"/>
                  </a:lnTo>
                  <a:lnTo>
                    <a:pt x="4195" y="3339"/>
                  </a:lnTo>
                  <a:lnTo>
                    <a:pt x="4236" y="3360"/>
                  </a:lnTo>
                  <a:lnTo>
                    <a:pt x="4271" y="3374"/>
                  </a:lnTo>
                  <a:lnTo>
                    <a:pt x="4278" y="3325"/>
                  </a:lnTo>
                  <a:lnTo>
                    <a:pt x="4327" y="3353"/>
                  </a:lnTo>
                  <a:lnTo>
                    <a:pt x="4341" y="3311"/>
                  </a:lnTo>
                  <a:lnTo>
                    <a:pt x="4348" y="3297"/>
                  </a:lnTo>
                  <a:lnTo>
                    <a:pt x="4438" y="3339"/>
                  </a:lnTo>
                  <a:lnTo>
                    <a:pt x="4445" y="3339"/>
                  </a:lnTo>
                  <a:lnTo>
                    <a:pt x="4403" y="3374"/>
                  </a:lnTo>
                  <a:lnTo>
                    <a:pt x="4410" y="3394"/>
                  </a:lnTo>
                  <a:lnTo>
                    <a:pt x="4396" y="3443"/>
                  </a:lnTo>
                  <a:lnTo>
                    <a:pt x="4403" y="3450"/>
                  </a:lnTo>
                  <a:lnTo>
                    <a:pt x="4445" y="3450"/>
                  </a:lnTo>
                  <a:lnTo>
                    <a:pt x="4487" y="3471"/>
                  </a:lnTo>
                  <a:lnTo>
                    <a:pt x="4494" y="3478"/>
                  </a:lnTo>
                  <a:lnTo>
                    <a:pt x="4522" y="3478"/>
                  </a:lnTo>
                  <a:lnTo>
                    <a:pt x="4556" y="3457"/>
                  </a:lnTo>
                  <a:lnTo>
                    <a:pt x="4556" y="3485"/>
                  </a:lnTo>
                  <a:lnTo>
                    <a:pt x="4542" y="3513"/>
                  </a:lnTo>
                  <a:lnTo>
                    <a:pt x="4577" y="3547"/>
                  </a:lnTo>
                  <a:lnTo>
                    <a:pt x="4605" y="3547"/>
                  </a:lnTo>
                  <a:lnTo>
                    <a:pt x="4654" y="3582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2" name="Freeform 111"/>
            <p:cNvSpPr>
              <a:spLocks noChangeArrowheads="1"/>
            </p:cNvSpPr>
            <p:nvPr/>
          </p:nvSpPr>
          <p:spPr bwMode="auto">
            <a:xfrm>
              <a:off x="14855189" y="3666902"/>
              <a:ext cx="20711" cy="20712"/>
            </a:xfrm>
            <a:custGeom>
              <a:avLst/>
              <a:gdLst>
                <a:gd name="T0" fmla="*/ 21 w 43"/>
                <a:gd name="T1" fmla="*/ 0 h 42"/>
                <a:gd name="T2" fmla="*/ 42 w 43"/>
                <a:gd name="T3" fmla="*/ 0 h 42"/>
                <a:gd name="T4" fmla="*/ 28 w 43"/>
                <a:gd name="T5" fmla="*/ 41 h 42"/>
                <a:gd name="T6" fmla="*/ 0 w 43"/>
                <a:gd name="T7" fmla="*/ 41 h 42"/>
                <a:gd name="T8" fmla="*/ 21 w 43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21" y="0"/>
                  </a:moveTo>
                  <a:lnTo>
                    <a:pt x="42" y="0"/>
                  </a:lnTo>
                  <a:lnTo>
                    <a:pt x="28" y="41"/>
                  </a:lnTo>
                  <a:lnTo>
                    <a:pt x="0" y="41"/>
                  </a:lnTo>
                  <a:lnTo>
                    <a:pt x="21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3" name="Freeform 112"/>
            <p:cNvSpPr>
              <a:spLocks noChangeArrowheads="1"/>
            </p:cNvSpPr>
            <p:nvPr/>
          </p:nvSpPr>
          <p:spPr bwMode="auto">
            <a:xfrm>
              <a:off x="14741277" y="4652814"/>
              <a:ext cx="6213" cy="4142"/>
            </a:xfrm>
            <a:custGeom>
              <a:avLst/>
              <a:gdLst>
                <a:gd name="T0" fmla="*/ 0 w 15"/>
                <a:gd name="T1" fmla="*/ 6 h 7"/>
                <a:gd name="T2" fmla="*/ 7 w 15"/>
                <a:gd name="T3" fmla="*/ 0 h 7"/>
                <a:gd name="T4" fmla="*/ 14 w 15"/>
                <a:gd name="T5" fmla="*/ 6 h 7"/>
                <a:gd name="T6" fmla="*/ 0 w 15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0" y="6"/>
                  </a:moveTo>
                  <a:lnTo>
                    <a:pt x="7" y="0"/>
                  </a:lnTo>
                  <a:lnTo>
                    <a:pt x="14" y="6"/>
                  </a:lnTo>
                  <a:lnTo>
                    <a:pt x="0" y="6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4" name="Freeform 113"/>
            <p:cNvSpPr>
              <a:spLocks noChangeArrowheads="1"/>
            </p:cNvSpPr>
            <p:nvPr/>
          </p:nvSpPr>
          <p:spPr bwMode="auto">
            <a:xfrm>
              <a:off x="14658434" y="4652814"/>
              <a:ext cx="4142" cy="12427"/>
            </a:xfrm>
            <a:custGeom>
              <a:avLst/>
              <a:gdLst>
                <a:gd name="T0" fmla="*/ 7 w 8"/>
                <a:gd name="T1" fmla="*/ 0 h 28"/>
                <a:gd name="T2" fmla="*/ 0 w 8"/>
                <a:gd name="T3" fmla="*/ 27 h 28"/>
                <a:gd name="T4" fmla="*/ 0 w 8"/>
                <a:gd name="T5" fmla="*/ 20 h 28"/>
                <a:gd name="T6" fmla="*/ 7 w 8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7" y="0"/>
                  </a:moveTo>
                  <a:lnTo>
                    <a:pt x="0" y="27"/>
                  </a:lnTo>
                  <a:lnTo>
                    <a:pt x="0" y="20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5" name="Freeform 114"/>
            <p:cNvSpPr>
              <a:spLocks noChangeArrowheads="1"/>
            </p:cNvSpPr>
            <p:nvPr/>
          </p:nvSpPr>
          <p:spPr bwMode="auto">
            <a:xfrm>
              <a:off x="14741277" y="4652814"/>
              <a:ext cx="6213" cy="4142"/>
            </a:xfrm>
            <a:custGeom>
              <a:avLst/>
              <a:gdLst>
                <a:gd name="T0" fmla="*/ 7 w 15"/>
                <a:gd name="T1" fmla="*/ 0 h 7"/>
                <a:gd name="T2" fmla="*/ 14 w 15"/>
                <a:gd name="T3" fmla="*/ 6 h 7"/>
                <a:gd name="T4" fmla="*/ 0 w 15"/>
                <a:gd name="T5" fmla="*/ 6 h 7"/>
                <a:gd name="T6" fmla="*/ 7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7" y="0"/>
                  </a:moveTo>
                  <a:lnTo>
                    <a:pt x="14" y="6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6" name="Freeform 115"/>
            <p:cNvSpPr>
              <a:spLocks noChangeArrowheads="1"/>
            </p:cNvSpPr>
            <p:nvPr/>
          </p:nvSpPr>
          <p:spPr bwMode="auto">
            <a:xfrm>
              <a:off x="14658434" y="4652814"/>
              <a:ext cx="4142" cy="12427"/>
            </a:xfrm>
            <a:custGeom>
              <a:avLst/>
              <a:gdLst>
                <a:gd name="T0" fmla="*/ 0 w 8"/>
                <a:gd name="T1" fmla="*/ 27 h 28"/>
                <a:gd name="T2" fmla="*/ 0 w 8"/>
                <a:gd name="T3" fmla="*/ 20 h 28"/>
                <a:gd name="T4" fmla="*/ 7 w 8"/>
                <a:gd name="T5" fmla="*/ 0 h 28"/>
                <a:gd name="T6" fmla="*/ 0 w 8"/>
                <a:gd name="T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8">
                  <a:moveTo>
                    <a:pt x="0" y="27"/>
                  </a:moveTo>
                  <a:lnTo>
                    <a:pt x="0" y="20"/>
                  </a:lnTo>
                  <a:lnTo>
                    <a:pt x="7" y="0"/>
                  </a:lnTo>
                  <a:lnTo>
                    <a:pt x="0" y="27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7" name="Freeform 116"/>
            <p:cNvSpPr>
              <a:spLocks noChangeArrowheads="1"/>
            </p:cNvSpPr>
            <p:nvPr/>
          </p:nvSpPr>
          <p:spPr bwMode="auto">
            <a:xfrm>
              <a:off x="13051253" y="3173944"/>
              <a:ext cx="2002762" cy="2473066"/>
            </a:xfrm>
            <a:custGeom>
              <a:avLst/>
              <a:gdLst>
                <a:gd name="T0" fmla="*/ 2880 w 4266"/>
                <a:gd name="T1" fmla="*/ 4362 h 5267"/>
                <a:gd name="T2" fmla="*/ 3165 w 4266"/>
                <a:gd name="T3" fmla="*/ 4286 h 5267"/>
                <a:gd name="T4" fmla="*/ 3284 w 4266"/>
                <a:gd name="T5" fmla="*/ 4125 h 5267"/>
                <a:gd name="T6" fmla="*/ 3499 w 4266"/>
                <a:gd name="T7" fmla="*/ 4251 h 5267"/>
                <a:gd name="T8" fmla="*/ 3729 w 4266"/>
                <a:gd name="T9" fmla="*/ 4195 h 5267"/>
                <a:gd name="T10" fmla="*/ 3792 w 4266"/>
                <a:gd name="T11" fmla="*/ 3924 h 5267"/>
                <a:gd name="T12" fmla="*/ 4084 w 4266"/>
                <a:gd name="T13" fmla="*/ 4063 h 5267"/>
                <a:gd name="T14" fmla="*/ 4251 w 4266"/>
                <a:gd name="T15" fmla="*/ 3833 h 5267"/>
                <a:gd name="T16" fmla="*/ 4028 w 4266"/>
                <a:gd name="T17" fmla="*/ 3611 h 5267"/>
                <a:gd name="T18" fmla="*/ 3896 w 4266"/>
                <a:gd name="T19" fmla="*/ 3367 h 5267"/>
                <a:gd name="T20" fmla="*/ 3750 w 4266"/>
                <a:gd name="T21" fmla="*/ 3124 h 5267"/>
                <a:gd name="T22" fmla="*/ 3625 w 4266"/>
                <a:gd name="T23" fmla="*/ 3117 h 5267"/>
                <a:gd name="T24" fmla="*/ 3527 w 4266"/>
                <a:gd name="T25" fmla="*/ 3186 h 5267"/>
                <a:gd name="T26" fmla="*/ 3325 w 4266"/>
                <a:gd name="T27" fmla="*/ 3075 h 5267"/>
                <a:gd name="T28" fmla="*/ 3235 w 4266"/>
                <a:gd name="T29" fmla="*/ 2887 h 5267"/>
                <a:gd name="T30" fmla="*/ 3131 w 4266"/>
                <a:gd name="T31" fmla="*/ 2776 h 5267"/>
                <a:gd name="T32" fmla="*/ 3144 w 4266"/>
                <a:gd name="T33" fmla="*/ 2665 h 5267"/>
                <a:gd name="T34" fmla="*/ 3179 w 4266"/>
                <a:gd name="T35" fmla="*/ 2421 h 5267"/>
                <a:gd name="T36" fmla="*/ 3360 w 4266"/>
                <a:gd name="T37" fmla="*/ 2560 h 5267"/>
                <a:gd name="T38" fmla="*/ 3458 w 4266"/>
                <a:gd name="T39" fmla="*/ 2386 h 5267"/>
                <a:gd name="T40" fmla="*/ 3625 w 4266"/>
                <a:gd name="T41" fmla="*/ 2289 h 5267"/>
                <a:gd name="T42" fmla="*/ 3541 w 4266"/>
                <a:gd name="T43" fmla="*/ 2150 h 5267"/>
                <a:gd name="T44" fmla="*/ 3430 w 4266"/>
                <a:gd name="T45" fmla="*/ 1906 h 5267"/>
                <a:gd name="T46" fmla="*/ 3339 w 4266"/>
                <a:gd name="T47" fmla="*/ 1732 h 5267"/>
                <a:gd name="T48" fmla="*/ 3214 w 4266"/>
                <a:gd name="T49" fmla="*/ 1419 h 5267"/>
                <a:gd name="T50" fmla="*/ 3409 w 4266"/>
                <a:gd name="T51" fmla="*/ 1023 h 5267"/>
                <a:gd name="T52" fmla="*/ 3332 w 4266"/>
                <a:gd name="T53" fmla="*/ 752 h 5267"/>
                <a:gd name="T54" fmla="*/ 2998 w 4266"/>
                <a:gd name="T55" fmla="*/ 466 h 5267"/>
                <a:gd name="T56" fmla="*/ 3033 w 4266"/>
                <a:gd name="T57" fmla="*/ 56 h 5267"/>
                <a:gd name="T58" fmla="*/ 2706 w 4266"/>
                <a:gd name="T59" fmla="*/ 251 h 5267"/>
                <a:gd name="T60" fmla="*/ 2518 w 4266"/>
                <a:gd name="T61" fmla="*/ 647 h 5267"/>
                <a:gd name="T62" fmla="*/ 2282 w 4266"/>
                <a:gd name="T63" fmla="*/ 988 h 5267"/>
                <a:gd name="T64" fmla="*/ 2052 w 4266"/>
                <a:gd name="T65" fmla="*/ 1399 h 5267"/>
                <a:gd name="T66" fmla="*/ 2115 w 4266"/>
                <a:gd name="T67" fmla="*/ 1691 h 5267"/>
                <a:gd name="T68" fmla="*/ 2094 w 4266"/>
                <a:gd name="T69" fmla="*/ 1906 h 5267"/>
                <a:gd name="T70" fmla="*/ 1732 w 4266"/>
                <a:gd name="T71" fmla="*/ 1997 h 5267"/>
                <a:gd name="T72" fmla="*/ 1301 w 4266"/>
                <a:gd name="T73" fmla="*/ 2032 h 5267"/>
                <a:gd name="T74" fmla="*/ 842 w 4266"/>
                <a:gd name="T75" fmla="*/ 2087 h 5267"/>
                <a:gd name="T76" fmla="*/ 842 w 4266"/>
                <a:gd name="T77" fmla="*/ 2484 h 5267"/>
                <a:gd name="T78" fmla="*/ 661 w 4266"/>
                <a:gd name="T79" fmla="*/ 2727 h 5267"/>
                <a:gd name="T80" fmla="*/ 452 w 4266"/>
                <a:gd name="T81" fmla="*/ 2894 h 5267"/>
                <a:gd name="T82" fmla="*/ 0 w 4266"/>
                <a:gd name="T83" fmla="*/ 2978 h 5267"/>
                <a:gd name="T84" fmla="*/ 188 w 4266"/>
                <a:gd name="T85" fmla="*/ 3221 h 5267"/>
                <a:gd name="T86" fmla="*/ 480 w 4266"/>
                <a:gd name="T87" fmla="*/ 3541 h 5267"/>
                <a:gd name="T88" fmla="*/ 744 w 4266"/>
                <a:gd name="T89" fmla="*/ 3903 h 5267"/>
                <a:gd name="T90" fmla="*/ 487 w 4266"/>
                <a:gd name="T91" fmla="*/ 4153 h 5267"/>
                <a:gd name="T92" fmla="*/ 445 w 4266"/>
                <a:gd name="T93" fmla="*/ 4487 h 5267"/>
                <a:gd name="T94" fmla="*/ 626 w 4266"/>
                <a:gd name="T95" fmla="*/ 4884 h 5267"/>
                <a:gd name="T96" fmla="*/ 1016 w 4266"/>
                <a:gd name="T97" fmla="*/ 5023 h 5267"/>
                <a:gd name="T98" fmla="*/ 1447 w 4266"/>
                <a:gd name="T99" fmla="*/ 5086 h 5267"/>
                <a:gd name="T100" fmla="*/ 1718 w 4266"/>
                <a:gd name="T101" fmla="*/ 5113 h 5267"/>
                <a:gd name="T102" fmla="*/ 1892 w 4266"/>
                <a:gd name="T103" fmla="*/ 5092 h 5267"/>
                <a:gd name="T104" fmla="*/ 2282 w 4266"/>
                <a:gd name="T105" fmla="*/ 5176 h 5267"/>
                <a:gd name="T106" fmla="*/ 2407 w 4266"/>
                <a:gd name="T107" fmla="*/ 5037 h 5267"/>
                <a:gd name="T108" fmla="*/ 2365 w 4266"/>
                <a:gd name="T109" fmla="*/ 4765 h 5267"/>
                <a:gd name="T110" fmla="*/ 2511 w 4266"/>
                <a:gd name="T111" fmla="*/ 4585 h 5267"/>
                <a:gd name="T112" fmla="*/ 2588 w 4266"/>
                <a:gd name="T113" fmla="*/ 4383 h 5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6" h="5267">
                  <a:moveTo>
                    <a:pt x="2692" y="4265"/>
                  </a:moveTo>
                  <a:lnTo>
                    <a:pt x="2720" y="4292"/>
                  </a:lnTo>
                  <a:lnTo>
                    <a:pt x="2776" y="4306"/>
                  </a:lnTo>
                  <a:lnTo>
                    <a:pt x="2783" y="4306"/>
                  </a:lnTo>
                  <a:lnTo>
                    <a:pt x="2790" y="4327"/>
                  </a:lnTo>
                  <a:lnTo>
                    <a:pt x="2818" y="4334"/>
                  </a:lnTo>
                  <a:lnTo>
                    <a:pt x="2845" y="4355"/>
                  </a:lnTo>
                  <a:lnTo>
                    <a:pt x="2866" y="4369"/>
                  </a:lnTo>
                  <a:lnTo>
                    <a:pt x="2873" y="4369"/>
                  </a:lnTo>
                  <a:lnTo>
                    <a:pt x="2880" y="4362"/>
                  </a:lnTo>
                  <a:lnTo>
                    <a:pt x="2908" y="4355"/>
                  </a:lnTo>
                  <a:lnTo>
                    <a:pt x="2922" y="4327"/>
                  </a:lnTo>
                  <a:lnTo>
                    <a:pt x="2936" y="4286"/>
                  </a:lnTo>
                  <a:lnTo>
                    <a:pt x="2964" y="4286"/>
                  </a:lnTo>
                  <a:lnTo>
                    <a:pt x="2977" y="4299"/>
                  </a:lnTo>
                  <a:lnTo>
                    <a:pt x="2998" y="4299"/>
                  </a:lnTo>
                  <a:lnTo>
                    <a:pt x="3005" y="4306"/>
                  </a:lnTo>
                  <a:lnTo>
                    <a:pt x="3040" y="4258"/>
                  </a:lnTo>
                  <a:lnTo>
                    <a:pt x="3054" y="4286"/>
                  </a:lnTo>
                  <a:lnTo>
                    <a:pt x="3165" y="4286"/>
                  </a:lnTo>
                  <a:lnTo>
                    <a:pt x="3193" y="4292"/>
                  </a:lnTo>
                  <a:lnTo>
                    <a:pt x="3214" y="4292"/>
                  </a:lnTo>
                  <a:lnTo>
                    <a:pt x="3207" y="4258"/>
                  </a:lnTo>
                  <a:lnTo>
                    <a:pt x="3235" y="4237"/>
                  </a:lnTo>
                  <a:lnTo>
                    <a:pt x="3263" y="4223"/>
                  </a:lnTo>
                  <a:lnTo>
                    <a:pt x="3270" y="4195"/>
                  </a:lnTo>
                  <a:lnTo>
                    <a:pt x="3249" y="4167"/>
                  </a:lnTo>
                  <a:lnTo>
                    <a:pt x="3270" y="4153"/>
                  </a:lnTo>
                  <a:lnTo>
                    <a:pt x="3270" y="4139"/>
                  </a:lnTo>
                  <a:lnTo>
                    <a:pt x="3284" y="4125"/>
                  </a:lnTo>
                  <a:lnTo>
                    <a:pt x="3298" y="4119"/>
                  </a:lnTo>
                  <a:lnTo>
                    <a:pt x="3298" y="4125"/>
                  </a:lnTo>
                  <a:lnTo>
                    <a:pt x="3360" y="4125"/>
                  </a:lnTo>
                  <a:lnTo>
                    <a:pt x="3402" y="4132"/>
                  </a:lnTo>
                  <a:lnTo>
                    <a:pt x="3402" y="4125"/>
                  </a:lnTo>
                  <a:lnTo>
                    <a:pt x="3464" y="4139"/>
                  </a:lnTo>
                  <a:lnTo>
                    <a:pt x="3471" y="4153"/>
                  </a:lnTo>
                  <a:lnTo>
                    <a:pt x="3478" y="4195"/>
                  </a:lnTo>
                  <a:lnTo>
                    <a:pt x="3499" y="4209"/>
                  </a:lnTo>
                  <a:lnTo>
                    <a:pt x="3499" y="4251"/>
                  </a:lnTo>
                  <a:lnTo>
                    <a:pt x="3527" y="4251"/>
                  </a:lnTo>
                  <a:lnTo>
                    <a:pt x="3534" y="4306"/>
                  </a:lnTo>
                  <a:lnTo>
                    <a:pt x="3541" y="4320"/>
                  </a:lnTo>
                  <a:lnTo>
                    <a:pt x="3569" y="4306"/>
                  </a:lnTo>
                  <a:lnTo>
                    <a:pt x="3576" y="4292"/>
                  </a:lnTo>
                  <a:lnTo>
                    <a:pt x="3576" y="4237"/>
                  </a:lnTo>
                  <a:lnTo>
                    <a:pt x="3625" y="4209"/>
                  </a:lnTo>
                  <a:lnTo>
                    <a:pt x="3625" y="4167"/>
                  </a:lnTo>
                  <a:lnTo>
                    <a:pt x="3687" y="4167"/>
                  </a:lnTo>
                  <a:lnTo>
                    <a:pt x="3729" y="4195"/>
                  </a:lnTo>
                  <a:lnTo>
                    <a:pt x="3764" y="4174"/>
                  </a:lnTo>
                  <a:lnTo>
                    <a:pt x="3784" y="4160"/>
                  </a:lnTo>
                  <a:lnTo>
                    <a:pt x="3771" y="4139"/>
                  </a:lnTo>
                  <a:lnTo>
                    <a:pt x="3757" y="4056"/>
                  </a:lnTo>
                  <a:lnTo>
                    <a:pt x="3736" y="4028"/>
                  </a:lnTo>
                  <a:lnTo>
                    <a:pt x="3729" y="4028"/>
                  </a:lnTo>
                  <a:lnTo>
                    <a:pt x="3722" y="4000"/>
                  </a:lnTo>
                  <a:lnTo>
                    <a:pt x="3729" y="3993"/>
                  </a:lnTo>
                  <a:lnTo>
                    <a:pt x="3771" y="3965"/>
                  </a:lnTo>
                  <a:lnTo>
                    <a:pt x="3792" y="3924"/>
                  </a:lnTo>
                  <a:lnTo>
                    <a:pt x="3861" y="3931"/>
                  </a:lnTo>
                  <a:lnTo>
                    <a:pt x="3868" y="3945"/>
                  </a:lnTo>
                  <a:lnTo>
                    <a:pt x="3889" y="3945"/>
                  </a:lnTo>
                  <a:lnTo>
                    <a:pt x="3931" y="3938"/>
                  </a:lnTo>
                  <a:lnTo>
                    <a:pt x="3965" y="3979"/>
                  </a:lnTo>
                  <a:lnTo>
                    <a:pt x="3965" y="3993"/>
                  </a:lnTo>
                  <a:lnTo>
                    <a:pt x="3986" y="4035"/>
                  </a:lnTo>
                  <a:lnTo>
                    <a:pt x="3986" y="4056"/>
                  </a:lnTo>
                  <a:lnTo>
                    <a:pt x="4035" y="4035"/>
                  </a:lnTo>
                  <a:lnTo>
                    <a:pt x="4084" y="4063"/>
                  </a:lnTo>
                  <a:lnTo>
                    <a:pt x="4098" y="4125"/>
                  </a:lnTo>
                  <a:lnTo>
                    <a:pt x="4160" y="4139"/>
                  </a:lnTo>
                  <a:lnTo>
                    <a:pt x="4244" y="4098"/>
                  </a:lnTo>
                  <a:lnTo>
                    <a:pt x="4251" y="4098"/>
                  </a:lnTo>
                  <a:lnTo>
                    <a:pt x="4251" y="4056"/>
                  </a:lnTo>
                  <a:lnTo>
                    <a:pt x="4244" y="3973"/>
                  </a:lnTo>
                  <a:lnTo>
                    <a:pt x="4257" y="3931"/>
                  </a:lnTo>
                  <a:lnTo>
                    <a:pt x="4251" y="3896"/>
                  </a:lnTo>
                  <a:lnTo>
                    <a:pt x="4251" y="3889"/>
                  </a:lnTo>
                  <a:lnTo>
                    <a:pt x="4251" y="3833"/>
                  </a:lnTo>
                  <a:lnTo>
                    <a:pt x="4265" y="3743"/>
                  </a:lnTo>
                  <a:lnTo>
                    <a:pt x="4209" y="3715"/>
                  </a:lnTo>
                  <a:lnTo>
                    <a:pt x="4209" y="3666"/>
                  </a:lnTo>
                  <a:lnTo>
                    <a:pt x="4188" y="3646"/>
                  </a:lnTo>
                  <a:lnTo>
                    <a:pt x="4167" y="3611"/>
                  </a:lnTo>
                  <a:lnTo>
                    <a:pt x="4167" y="3618"/>
                  </a:lnTo>
                  <a:lnTo>
                    <a:pt x="4098" y="3632"/>
                  </a:lnTo>
                  <a:lnTo>
                    <a:pt x="4077" y="3604"/>
                  </a:lnTo>
                  <a:lnTo>
                    <a:pt x="4056" y="3611"/>
                  </a:lnTo>
                  <a:lnTo>
                    <a:pt x="4028" y="3611"/>
                  </a:lnTo>
                  <a:lnTo>
                    <a:pt x="4021" y="3576"/>
                  </a:lnTo>
                  <a:lnTo>
                    <a:pt x="3993" y="3541"/>
                  </a:lnTo>
                  <a:lnTo>
                    <a:pt x="4028" y="3506"/>
                  </a:lnTo>
                  <a:lnTo>
                    <a:pt x="4014" y="3471"/>
                  </a:lnTo>
                  <a:lnTo>
                    <a:pt x="3993" y="3465"/>
                  </a:lnTo>
                  <a:lnTo>
                    <a:pt x="3958" y="3451"/>
                  </a:lnTo>
                  <a:lnTo>
                    <a:pt x="3958" y="3437"/>
                  </a:lnTo>
                  <a:lnTo>
                    <a:pt x="3951" y="3430"/>
                  </a:lnTo>
                  <a:lnTo>
                    <a:pt x="3903" y="3388"/>
                  </a:lnTo>
                  <a:lnTo>
                    <a:pt x="3896" y="3367"/>
                  </a:lnTo>
                  <a:lnTo>
                    <a:pt x="3861" y="3333"/>
                  </a:lnTo>
                  <a:lnTo>
                    <a:pt x="3868" y="3312"/>
                  </a:lnTo>
                  <a:lnTo>
                    <a:pt x="3882" y="3305"/>
                  </a:lnTo>
                  <a:lnTo>
                    <a:pt x="3882" y="3277"/>
                  </a:lnTo>
                  <a:lnTo>
                    <a:pt x="3854" y="3242"/>
                  </a:lnTo>
                  <a:lnTo>
                    <a:pt x="3819" y="3242"/>
                  </a:lnTo>
                  <a:lnTo>
                    <a:pt x="3792" y="3249"/>
                  </a:lnTo>
                  <a:lnTo>
                    <a:pt x="3771" y="3235"/>
                  </a:lnTo>
                  <a:lnTo>
                    <a:pt x="3750" y="3179"/>
                  </a:lnTo>
                  <a:lnTo>
                    <a:pt x="3750" y="3124"/>
                  </a:lnTo>
                  <a:lnTo>
                    <a:pt x="3736" y="3117"/>
                  </a:lnTo>
                  <a:lnTo>
                    <a:pt x="3750" y="3110"/>
                  </a:lnTo>
                  <a:lnTo>
                    <a:pt x="3736" y="3103"/>
                  </a:lnTo>
                  <a:lnTo>
                    <a:pt x="3729" y="3103"/>
                  </a:lnTo>
                  <a:lnTo>
                    <a:pt x="3729" y="3082"/>
                  </a:lnTo>
                  <a:lnTo>
                    <a:pt x="3701" y="3089"/>
                  </a:lnTo>
                  <a:lnTo>
                    <a:pt x="3694" y="3110"/>
                  </a:lnTo>
                  <a:lnTo>
                    <a:pt x="3687" y="3089"/>
                  </a:lnTo>
                  <a:lnTo>
                    <a:pt x="3652" y="3110"/>
                  </a:lnTo>
                  <a:lnTo>
                    <a:pt x="3625" y="3117"/>
                  </a:lnTo>
                  <a:lnTo>
                    <a:pt x="3611" y="3110"/>
                  </a:lnTo>
                  <a:lnTo>
                    <a:pt x="3611" y="3124"/>
                  </a:lnTo>
                  <a:lnTo>
                    <a:pt x="3597" y="3124"/>
                  </a:lnTo>
                  <a:lnTo>
                    <a:pt x="3604" y="3145"/>
                  </a:lnTo>
                  <a:lnTo>
                    <a:pt x="3576" y="3138"/>
                  </a:lnTo>
                  <a:lnTo>
                    <a:pt x="3590" y="3145"/>
                  </a:lnTo>
                  <a:lnTo>
                    <a:pt x="3576" y="3158"/>
                  </a:lnTo>
                  <a:lnTo>
                    <a:pt x="3541" y="3158"/>
                  </a:lnTo>
                  <a:lnTo>
                    <a:pt x="3555" y="3179"/>
                  </a:lnTo>
                  <a:lnTo>
                    <a:pt x="3527" y="3186"/>
                  </a:lnTo>
                  <a:lnTo>
                    <a:pt x="3499" y="3186"/>
                  </a:lnTo>
                  <a:lnTo>
                    <a:pt x="3499" y="3158"/>
                  </a:lnTo>
                  <a:lnTo>
                    <a:pt x="3464" y="3158"/>
                  </a:lnTo>
                  <a:lnTo>
                    <a:pt x="3430" y="3124"/>
                  </a:lnTo>
                  <a:lnTo>
                    <a:pt x="3430" y="3145"/>
                  </a:lnTo>
                  <a:lnTo>
                    <a:pt x="3402" y="3158"/>
                  </a:lnTo>
                  <a:lnTo>
                    <a:pt x="3346" y="3138"/>
                  </a:lnTo>
                  <a:lnTo>
                    <a:pt x="3325" y="3110"/>
                  </a:lnTo>
                  <a:lnTo>
                    <a:pt x="3332" y="3075"/>
                  </a:lnTo>
                  <a:lnTo>
                    <a:pt x="3325" y="3075"/>
                  </a:lnTo>
                  <a:lnTo>
                    <a:pt x="3325" y="3054"/>
                  </a:lnTo>
                  <a:lnTo>
                    <a:pt x="3332" y="3047"/>
                  </a:lnTo>
                  <a:lnTo>
                    <a:pt x="3311" y="3019"/>
                  </a:lnTo>
                  <a:lnTo>
                    <a:pt x="3284" y="3012"/>
                  </a:lnTo>
                  <a:lnTo>
                    <a:pt x="3284" y="3006"/>
                  </a:lnTo>
                  <a:lnTo>
                    <a:pt x="3277" y="2985"/>
                  </a:lnTo>
                  <a:lnTo>
                    <a:pt x="3270" y="2978"/>
                  </a:lnTo>
                  <a:lnTo>
                    <a:pt x="3277" y="2943"/>
                  </a:lnTo>
                  <a:lnTo>
                    <a:pt x="3242" y="2922"/>
                  </a:lnTo>
                  <a:lnTo>
                    <a:pt x="3235" y="2887"/>
                  </a:lnTo>
                  <a:lnTo>
                    <a:pt x="3172" y="2860"/>
                  </a:lnTo>
                  <a:lnTo>
                    <a:pt x="3179" y="2852"/>
                  </a:lnTo>
                  <a:lnTo>
                    <a:pt x="3172" y="2839"/>
                  </a:lnTo>
                  <a:lnTo>
                    <a:pt x="3165" y="2811"/>
                  </a:lnTo>
                  <a:lnTo>
                    <a:pt x="3228" y="2762"/>
                  </a:lnTo>
                  <a:lnTo>
                    <a:pt x="3214" y="2755"/>
                  </a:lnTo>
                  <a:lnTo>
                    <a:pt x="3179" y="2755"/>
                  </a:lnTo>
                  <a:lnTo>
                    <a:pt x="3172" y="2776"/>
                  </a:lnTo>
                  <a:lnTo>
                    <a:pt x="3137" y="2783"/>
                  </a:lnTo>
                  <a:lnTo>
                    <a:pt x="3131" y="2776"/>
                  </a:lnTo>
                  <a:lnTo>
                    <a:pt x="3131" y="2762"/>
                  </a:lnTo>
                  <a:lnTo>
                    <a:pt x="3165" y="2755"/>
                  </a:lnTo>
                  <a:lnTo>
                    <a:pt x="3131" y="2713"/>
                  </a:lnTo>
                  <a:lnTo>
                    <a:pt x="3152" y="2699"/>
                  </a:lnTo>
                  <a:lnTo>
                    <a:pt x="3144" y="2685"/>
                  </a:lnTo>
                  <a:lnTo>
                    <a:pt x="3137" y="2685"/>
                  </a:lnTo>
                  <a:lnTo>
                    <a:pt x="3179" y="2679"/>
                  </a:lnTo>
                  <a:lnTo>
                    <a:pt x="3137" y="2665"/>
                  </a:lnTo>
                  <a:lnTo>
                    <a:pt x="3131" y="2651"/>
                  </a:lnTo>
                  <a:lnTo>
                    <a:pt x="3144" y="2665"/>
                  </a:lnTo>
                  <a:lnTo>
                    <a:pt x="3165" y="2651"/>
                  </a:lnTo>
                  <a:lnTo>
                    <a:pt x="3144" y="2630"/>
                  </a:lnTo>
                  <a:lnTo>
                    <a:pt x="3144" y="2595"/>
                  </a:lnTo>
                  <a:lnTo>
                    <a:pt x="3110" y="2609"/>
                  </a:lnTo>
                  <a:lnTo>
                    <a:pt x="3117" y="2581"/>
                  </a:lnTo>
                  <a:lnTo>
                    <a:pt x="3096" y="2560"/>
                  </a:lnTo>
                  <a:lnTo>
                    <a:pt x="3110" y="2526"/>
                  </a:lnTo>
                  <a:lnTo>
                    <a:pt x="3152" y="2518"/>
                  </a:lnTo>
                  <a:lnTo>
                    <a:pt x="3137" y="2456"/>
                  </a:lnTo>
                  <a:lnTo>
                    <a:pt x="3179" y="2421"/>
                  </a:lnTo>
                  <a:lnTo>
                    <a:pt x="3200" y="2449"/>
                  </a:lnTo>
                  <a:lnTo>
                    <a:pt x="3242" y="2449"/>
                  </a:lnTo>
                  <a:lnTo>
                    <a:pt x="3277" y="2428"/>
                  </a:lnTo>
                  <a:lnTo>
                    <a:pt x="3298" y="2428"/>
                  </a:lnTo>
                  <a:lnTo>
                    <a:pt x="3304" y="2456"/>
                  </a:lnTo>
                  <a:lnTo>
                    <a:pt x="3304" y="2463"/>
                  </a:lnTo>
                  <a:lnTo>
                    <a:pt x="3346" y="2498"/>
                  </a:lnTo>
                  <a:lnTo>
                    <a:pt x="3346" y="2518"/>
                  </a:lnTo>
                  <a:lnTo>
                    <a:pt x="3346" y="2546"/>
                  </a:lnTo>
                  <a:lnTo>
                    <a:pt x="3360" y="2560"/>
                  </a:lnTo>
                  <a:lnTo>
                    <a:pt x="3402" y="2567"/>
                  </a:lnTo>
                  <a:lnTo>
                    <a:pt x="3430" y="2546"/>
                  </a:lnTo>
                  <a:lnTo>
                    <a:pt x="3430" y="2553"/>
                  </a:lnTo>
                  <a:lnTo>
                    <a:pt x="3444" y="2553"/>
                  </a:lnTo>
                  <a:lnTo>
                    <a:pt x="3464" y="2470"/>
                  </a:lnTo>
                  <a:lnTo>
                    <a:pt x="3492" y="2484"/>
                  </a:lnTo>
                  <a:lnTo>
                    <a:pt x="3527" y="2435"/>
                  </a:lnTo>
                  <a:lnTo>
                    <a:pt x="3527" y="2428"/>
                  </a:lnTo>
                  <a:lnTo>
                    <a:pt x="3478" y="2421"/>
                  </a:lnTo>
                  <a:lnTo>
                    <a:pt x="3458" y="2386"/>
                  </a:lnTo>
                  <a:lnTo>
                    <a:pt x="3458" y="2379"/>
                  </a:lnTo>
                  <a:lnTo>
                    <a:pt x="3471" y="2386"/>
                  </a:lnTo>
                  <a:lnTo>
                    <a:pt x="3527" y="2386"/>
                  </a:lnTo>
                  <a:lnTo>
                    <a:pt x="3534" y="2359"/>
                  </a:lnTo>
                  <a:lnTo>
                    <a:pt x="3590" y="2379"/>
                  </a:lnTo>
                  <a:lnTo>
                    <a:pt x="3625" y="2352"/>
                  </a:lnTo>
                  <a:lnTo>
                    <a:pt x="3631" y="2359"/>
                  </a:lnTo>
                  <a:lnTo>
                    <a:pt x="3659" y="2352"/>
                  </a:lnTo>
                  <a:lnTo>
                    <a:pt x="3652" y="2331"/>
                  </a:lnTo>
                  <a:lnTo>
                    <a:pt x="3625" y="2289"/>
                  </a:lnTo>
                  <a:lnTo>
                    <a:pt x="3631" y="2261"/>
                  </a:lnTo>
                  <a:lnTo>
                    <a:pt x="3611" y="2261"/>
                  </a:lnTo>
                  <a:lnTo>
                    <a:pt x="3604" y="2268"/>
                  </a:lnTo>
                  <a:lnTo>
                    <a:pt x="3590" y="2205"/>
                  </a:lnTo>
                  <a:lnTo>
                    <a:pt x="3576" y="2199"/>
                  </a:lnTo>
                  <a:lnTo>
                    <a:pt x="3569" y="2199"/>
                  </a:lnTo>
                  <a:lnTo>
                    <a:pt x="3569" y="2192"/>
                  </a:lnTo>
                  <a:lnTo>
                    <a:pt x="3569" y="2150"/>
                  </a:lnTo>
                  <a:lnTo>
                    <a:pt x="3562" y="2150"/>
                  </a:lnTo>
                  <a:lnTo>
                    <a:pt x="3541" y="2150"/>
                  </a:lnTo>
                  <a:lnTo>
                    <a:pt x="3520" y="2122"/>
                  </a:lnTo>
                  <a:lnTo>
                    <a:pt x="3458" y="2101"/>
                  </a:lnTo>
                  <a:lnTo>
                    <a:pt x="3444" y="2066"/>
                  </a:lnTo>
                  <a:lnTo>
                    <a:pt x="3458" y="2053"/>
                  </a:lnTo>
                  <a:lnTo>
                    <a:pt x="3437" y="2025"/>
                  </a:lnTo>
                  <a:lnTo>
                    <a:pt x="3430" y="1997"/>
                  </a:lnTo>
                  <a:lnTo>
                    <a:pt x="3430" y="1990"/>
                  </a:lnTo>
                  <a:lnTo>
                    <a:pt x="3430" y="1976"/>
                  </a:lnTo>
                  <a:lnTo>
                    <a:pt x="3409" y="1941"/>
                  </a:lnTo>
                  <a:lnTo>
                    <a:pt x="3430" y="1906"/>
                  </a:lnTo>
                  <a:lnTo>
                    <a:pt x="3409" y="1872"/>
                  </a:lnTo>
                  <a:lnTo>
                    <a:pt x="3395" y="1858"/>
                  </a:lnTo>
                  <a:lnTo>
                    <a:pt x="3360" y="1844"/>
                  </a:lnTo>
                  <a:lnTo>
                    <a:pt x="3360" y="1823"/>
                  </a:lnTo>
                  <a:lnTo>
                    <a:pt x="3367" y="1802"/>
                  </a:lnTo>
                  <a:lnTo>
                    <a:pt x="3395" y="1823"/>
                  </a:lnTo>
                  <a:lnTo>
                    <a:pt x="3402" y="1809"/>
                  </a:lnTo>
                  <a:lnTo>
                    <a:pt x="3374" y="1767"/>
                  </a:lnTo>
                  <a:lnTo>
                    <a:pt x="3381" y="1732"/>
                  </a:lnTo>
                  <a:lnTo>
                    <a:pt x="3339" y="1732"/>
                  </a:lnTo>
                  <a:lnTo>
                    <a:pt x="3325" y="1712"/>
                  </a:lnTo>
                  <a:lnTo>
                    <a:pt x="3325" y="1698"/>
                  </a:lnTo>
                  <a:lnTo>
                    <a:pt x="3339" y="1642"/>
                  </a:lnTo>
                  <a:lnTo>
                    <a:pt x="3325" y="1628"/>
                  </a:lnTo>
                  <a:lnTo>
                    <a:pt x="3242" y="1607"/>
                  </a:lnTo>
                  <a:lnTo>
                    <a:pt x="3228" y="1566"/>
                  </a:lnTo>
                  <a:lnTo>
                    <a:pt x="3179" y="1510"/>
                  </a:lnTo>
                  <a:lnTo>
                    <a:pt x="3172" y="1475"/>
                  </a:lnTo>
                  <a:lnTo>
                    <a:pt x="3179" y="1461"/>
                  </a:lnTo>
                  <a:lnTo>
                    <a:pt x="3214" y="1419"/>
                  </a:lnTo>
                  <a:lnTo>
                    <a:pt x="3242" y="1378"/>
                  </a:lnTo>
                  <a:lnTo>
                    <a:pt x="3242" y="1371"/>
                  </a:lnTo>
                  <a:lnTo>
                    <a:pt x="3242" y="1364"/>
                  </a:lnTo>
                  <a:lnTo>
                    <a:pt x="3242" y="1336"/>
                  </a:lnTo>
                  <a:lnTo>
                    <a:pt x="3235" y="1322"/>
                  </a:lnTo>
                  <a:lnTo>
                    <a:pt x="3200" y="1246"/>
                  </a:lnTo>
                  <a:lnTo>
                    <a:pt x="3263" y="1169"/>
                  </a:lnTo>
                  <a:lnTo>
                    <a:pt x="3346" y="1086"/>
                  </a:lnTo>
                  <a:lnTo>
                    <a:pt x="3381" y="1051"/>
                  </a:lnTo>
                  <a:lnTo>
                    <a:pt x="3409" y="1023"/>
                  </a:lnTo>
                  <a:lnTo>
                    <a:pt x="3423" y="1016"/>
                  </a:lnTo>
                  <a:lnTo>
                    <a:pt x="3437" y="1002"/>
                  </a:lnTo>
                  <a:lnTo>
                    <a:pt x="3464" y="953"/>
                  </a:lnTo>
                  <a:lnTo>
                    <a:pt x="3464" y="946"/>
                  </a:lnTo>
                  <a:lnTo>
                    <a:pt x="3464" y="940"/>
                  </a:lnTo>
                  <a:lnTo>
                    <a:pt x="3458" y="940"/>
                  </a:lnTo>
                  <a:lnTo>
                    <a:pt x="3437" y="863"/>
                  </a:lnTo>
                  <a:lnTo>
                    <a:pt x="3437" y="814"/>
                  </a:lnTo>
                  <a:lnTo>
                    <a:pt x="3367" y="779"/>
                  </a:lnTo>
                  <a:lnTo>
                    <a:pt x="3332" y="752"/>
                  </a:lnTo>
                  <a:lnTo>
                    <a:pt x="3304" y="752"/>
                  </a:lnTo>
                  <a:lnTo>
                    <a:pt x="3277" y="752"/>
                  </a:lnTo>
                  <a:lnTo>
                    <a:pt x="3249" y="710"/>
                  </a:lnTo>
                  <a:lnTo>
                    <a:pt x="3249" y="682"/>
                  </a:lnTo>
                  <a:lnTo>
                    <a:pt x="3207" y="647"/>
                  </a:lnTo>
                  <a:lnTo>
                    <a:pt x="3165" y="585"/>
                  </a:lnTo>
                  <a:lnTo>
                    <a:pt x="3144" y="550"/>
                  </a:lnTo>
                  <a:lnTo>
                    <a:pt x="3033" y="501"/>
                  </a:lnTo>
                  <a:lnTo>
                    <a:pt x="3033" y="494"/>
                  </a:lnTo>
                  <a:lnTo>
                    <a:pt x="2998" y="466"/>
                  </a:lnTo>
                  <a:lnTo>
                    <a:pt x="3012" y="446"/>
                  </a:lnTo>
                  <a:lnTo>
                    <a:pt x="2971" y="362"/>
                  </a:lnTo>
                  <a:lnTo>
                    <a:pt x="2998" y="320"/>
                  </a:lnTo>
                  <a:lnTo>
                    <a:pt x="3019" y="300"/>
                  </a:lnTo>
                  <a:lnTo>
                    <a:pt x="3033" y="230"/>
                  </a:lnTo>
                  <a:lnTo>
                    <a:pt x="3033" y="167"/>
                  </a:lnTo>
                  <a:lnTo>
                    <a:pt x="3040" y="153"/>
                  </a:lnTo>
                  <a:lnTo>
                    <a:pt x="3040" y="119"/>
                  </a:lnTo>
                  <a:lnTo>
                    <a:pt x="3019" y="98"/>
                  </a:lnTo>
                  <a:lnTo>
                    <a:pt x="3033" y="56"/>
                  </a:lnTo>
                  <a:lnTo>
                    <a:pt x="3005" y="0"/>
                  </a:lnTo>
                  <a:lnTo>
                    <a:pt x="2880" y="28"/>
                  </a:lnTo>
                  <a:lnTo>
                    <a:pt x="2824" y="63"/>
                  </a:lnTo>
                  <a:lnTo>
                    <a:pt x="2776" y="91"/>
                  </a:lnTo>
                  <a:lnTo>
                    <a:pt x="2748" y="119"/>
                  </a:lnTo>
                  <a:lnTo>
                    <a:pt x="2776" y="133"/>
                  </a:lnTo>
                  <a:lnTo>
                    <a:pt x="2790" y="167"/>
                  </a:lnTo>
                  <a:lnTo>
                    <a:pt x="2748" y="202"/>
                  </a:lnTo>
                  <a:lnTo>
                    <a:pt x="2706" y="223"/>
                  </a:lnTo>
                  <a:lnTo>
                    <a:pt x="2706" y="251"/>
                  </a:lnTo>
                  <a:lnTo>
                    <a:pt x="2658" y="272"/>
                  </a:lnTo>
                  <a:lnTo>
                    <a:pt x="2588" y="355"/>
                  </a:lnTo>
                  <a:lnTo>
                    <a:pt x="2518" y="362"/>
                  </a:lnTo>
                  <a:lnTo>
                    <a:pt x="2484" y="362"/>
                  </a:lnTo>
                  <a:lnTo>
                    <a:pt x="2393" y="452"/>
                  </a:lnTo>
                  <a:lnTo>
                    <a:pt x="2449" y="480"/>
                  </a:lnTo>
                  <a:lnTo>
                    <a:pt x="2477" y="515"/>
                  </a:lnTo>
                  <a:lnTo>
                    <a:pt x="2491" y="522"/>
                  </a:lnTo>
                  <a:lnTo>
                    <a:pt x="2539" y="626"/>
                  </a:lnTo>
                  <a:lnTo>
                    <a:pt x="2518" y="647"/>
                  </a:lnTo>
                  <a:lnTo>
                    <a:pt x="2518" y="682"/>
                  </a:lnTo>
                  <a:lnTo>
                    <a:pt x="2504" y="717"/>
                  </a:lnTo>
                  <a:lnTo>
                    <a:pt x="2477" y="717"/>
                  </a:lnTo>
                  <a:lnTo>
                    <a:pt x="2442" y="773"/>
                  </a:lnTo>
                  <a:lnTo>
                    <a:pt x="2324" y="793"/>
                  </a:lnTo>
                  <a:lnTo>
                    <a:pt x="2310" y="849"/>
                  </a:lnTo>
                  <a:lnTo>
                    <a:pt x="2317" y="912"/>
                  </a:lnTo>
                  <a:lnTo>
                    <a:pt x="2296" y="940"/>
                  </a:lnTo>
                  <a:lnTo>
                    <a:pt x="2289" y="988"/>
                  </a:lnTo>
                  <a:lnTo>
                    <a:pt x="2282" y="988"/>
                  </a:lnTo>
                  <a:lnTo>
                    <a:pt x="2247" y="1023"/>
                  </a:lnTo>
                  <a:lnTo>
                    <a:pt x="2115" y="1037"/>
                  </a:lnTo>
                  <a:lnTo>
                    <a:pt x="2066" y="1072"/>
                  </a:lnTo>
                  <a:lnTo>
                    <a:pt x="2052" y="1134"/>
                  </a:lnTo>
                  <a:lnTo>
                    <a:pt x="2059" y="1176"/>
                  </a:lnTo>
                  <a:lnTo>
                    <a:pt x="2038" y="1204"/>
                  </a:lnTo>
                  <a:lnTo>
                    <a:pt x="2052" y="1308"/>
                  </a:lnTo>
                  <a:lnTo>
                    <a:pt x="2052" y="1343"/>
                  </a:lnTo>
                  <a:lnTo>
                    <a:pt x="2038" y="1371"/>
                  </a:lnTo>
                  <a:lnTo>
                    <a:pt x="2052" y="1399"/>
                  </a:lnTo>
                  <a:lnTo>
                    <a:pt x="2031" y="1413"/>
                  </a:lnTo>
                  <a:lnTo>
                    <a:pt x="2052" y="1496"/>
                  </a:lnTo>
                  <a:lnTo>
                    <a:pt x="2094" y="1566"/>
                  </a:lnTo>
                  <a:lnTo>
                    <a:pt x="2150" y="1580"/>
                  </a:lnTo>
                  <a:lnTo>
                    <a:pt x="2150" y="1600"/>
                  </a:lnTo>
                  <a:lnTo>
                    <a:pt x="2157" y="1614"/>
                  </a:lnTo>
                  <a:lnTo>
                    <a:pt x="2150" y="1642"/>
                  </a:lnTo>
                  <a:lnTo>
                    <a:pt x="2150" y="1649"/>
                  </a:lnTo>
                  <a:lnTo>
                    <a:pt x="2136" y="1670"/>
                  </a:lnTo>
                  <a:lnTo>
                    <a:pt x="2115" y="1691"/>
                  </a:lnTo>
                  <a:lnTo>
                    <a:pt x="2115" y="1712"/>
                  </a:lnTo>
                  <a:lnTo>
                    <a:pt x="2122" y="1739"/>
                  </a:lnTo>
                  <a:lnTo>
                    <a:pt x="2136" y="1746"/>
                  </a:lnTo>
                  <a:lnTo>
                    <a:pt x="2129" y="1767"/>
                  </a:lnTo>
                  <a:lnTo>
                    <a:pt x="2164" y="1802"/>
                  </a:lnTo>
                  <a:lnTo>
                    <a:pt x="2157" y="1823"/>
                  </a:lnTo>
                  <a:lnTo>
                    <a:pt x="2136" y="1823"/>
                  </a:lnTo>
                  <a:lnTo>
                    <a:pt x="2094" y="1872"/>
                  </a:lnTo>
                  <a:lnTo>
                    <a:pt x="2094" y="1878"/>
                  </a:lnTo>
                  <a:lnTo>
                    <a:pt x="2094" y="1906"/>
                  </a:lnTo>
                  <a:lnTo>
                    <a:pt x="2087" y="1899"/>
                  </a:lnTo>
                  <a:lnTo>
                    <a:pt x="2038" y="1899"/>
                  </a:lnTo>
                  <a:lnTo>
                    <a:pt x="2018" y="1893"/>
                  </a:lnTo>
                  <a:lnTo>
                    <a:pt x="1927" y="1934"/>
                  </a:lnTo>
                  <a:lnTo>
                    <a:pt x="1830" y="1997"/>
                  </a:lnTo>
                  <a:lnTo>
                    <a:pt x="1823" y="2004"/>
                  </a:lnTo>
                  <a:lnTo>
                    <a:pt x="1809" y="1997"/>
                  </a:lnTo>
                  <a:lnTo>
                    <a:pt x="1767" y="1990"/>
                  </a:lnTo>
                  <a:lnTo>
                    <a:pt x="1753" y="1990"/>
                  </a:lnTo>
                  <a:lnTo>
                    <a:pt x="1732" y="1997"/>
                  </a:lnTo>
                  <a:lnTo>
                    <a:pt x="1663" y="1962"/>
                  </a:lnTo>
                  <a:lnTo>
                    <a:pt x="1621" y="1976"/>
                  </a:lnTo>
                  <a:lnTo>
                    <a:pt x="1621" y="1962"/>
                  </a:lnTo>
                  <a:lnTo>
                    <a:pt x="1544" y="1906"/>
                  </a:lnTo>
                  <a:lnTo>
                    <a:pt x="1496" y="1941"/>
                  </a:lnTo>
                  <a:lnTo>
                    <a:pt x="1447" y="1934"/>
                  </a:lnTo>
                  <a:lnTo>
                    <a:pt x="1391" y="1941"/>
                  </a:lnTo>
                  <a:lnTo>
                    <a:pt x="1350" y="1997"/>
                  </a:lnTo>
                  <a:lnTo>
                    <a:pt x="1315" y="2011"/>
                  </a:lnTo>
                  <a:lnTo>
                    <a:pt x="1301" y="2032"/>
                  </a:lnTo>
                  <a:lnTo>
                    <a:pt x="1238" y="2087"/>
                  </a:lnTo>
                  <a:lnTo>
                    <a:pt x="1217" y="2059"/>
                  </a:lnTo>
                  <a:lnTo>
                    <a:pt x="1148" y="2087"/>
                  </a:lnTo>
                  <a:lnTo>
                    <a:pt x="1065" y="2087"/>
                  </a:lnTo>
                  <a:lnTo>
                    <a:pt x="1051" y="2108"/>
                  </a:lnTo>
                  <a:lnTo>
                    <a:pt x="981" y="2171"/>
                  </a:lnTo>
                  <a:lnTo>
                    <a:pt x="946" y="2157"/>
                  </a:lnTo>
                  <a:lnTo>
                    <a:pt x="884" y="2150"/>
                  </a:lnTo>
                  <a:lnTo>
                    <a:pt x="856" y="2164"/>
                  </a:lnTo>
                  <a:lnTo>
                    <a:pt x="842" y="2087"/>
                  </a:lnTo>
                  <a:lnTo>
                    <a:pt x="821" y="2094"/>
                  </a:lnTo>
                  <a:lnTo>
                    <a:pt x="807" y="2171"/>
                  </a:lnTo>
                  <a:lnTo>
                    <a:pt x="786" y="2185"/>
                  </a:lnTo>
                  <a:lnTo>
                    <a:pt x="807" y="2261"/>
                  </a:lnTo>
                  <a:lnTo>
                    <a:pt x="849" y="2282"/>
                  </a:lnTo>
                  <a:lnTo>
                    <a:pt x="918" y="2324"/>
                  </a:lnTo>
                  <a:lnTo>
                    <a:pt x="890" y="2366"/>
                  </a:lnTo>
                  <a:lnTo>
                    <a:pt x="884" y="2414"/>
                  </a:lnTo>
                  <a:lnTo>
                    <a:pt x="842" y="2435"/>
                  </a:lnTo>
                  <a:lnTo>
                    <a:pt x="842" y="2484"/>
                  </a:lnTo>
                  <a:lnTo>
                    <a:pt x="814" y="2484"/>
                  </a:lnTo>
                  <a:lnTo>
                    <a:pt x="793" y="2512"/>
                  </a:lnTo>
                  <a:lnTo>
                    <a:pt x="842" y="2595"/>
                  </a:lnTo>
                  <a:lnTo>
                    <a:pt x="842" y="2644"/>
                  </a:lnTo>
                  <a:lnTo>
                    <a:pt x="835" y="2665"/>
                  </a:lnTo>
                  <a:lnTo>
                    <a:pt x="807" y="2665"/>
                  </a:lnTo>
                  <a:lnTo>
                    <a:pt x="758" y="2727"/>
                  </a:lnTo>
                  <a:lnTo>
                    <a:pt x="723" y="2748"/>
                  </a:lnTo>
                  <a:lnTo>
                    <a:pt x="703" y="2713"/>
                  </a:lnTo>
                  <a:lnTo>
                    <a:pt x="661" y="2727"/>
                  </a:lnTo>
                  <a:lnTo>
                    <a:pt x="626" y="2727"/>
                  </a:lnTo>
                  <a:lnTo>
                    <a:pt x="619" y="2741"/>
                  </a:lnTo>
                  <a:lnTo>
                    <a:pt x="557" y="2762"/>
                  </a:lnTo>
                  <a:lnTo>
                    <a:pt x="564" y="2776"/>
                  </a:lnTo>
                  <a:lnTo>
                    <a:pt x="550" y="2797"/>
                  </a:lnTo>
                  <a:lnTo>
                    <a:pt x="522" y="2825"/>
                  </a:lnTo>
                  <a:lnTo>
                    <a:pt x="529" y="2839"/>
                  </a:lnTo>
                  <a:lnTo>
                    <a:pt x="452" y="2845"/>
                  </a:lnTo>
                  <a:lnTo>
                    <a:pt x="431" y="2860"/>
                  </a:lnTo>
                  <a:lnTo>
                    <a:pt x="452" y="2894"/>
                  </a:lnTo>
                  <a:lnTo>
                    <a:pt x="383" y="2929"/>
                  </a:lnTo>
                  <a:lnTo>
                    <a:pt x="376" y="2915"/>
                  </a:lnTo>
                  <a:lnTo>
                    <a:pt x="334" y="2894"/>
                  </a:lnTo>
                  <a:lnTo>
                    <a:pt x="237" y="2860"/>
                  </a:lnTo>
                  <a:lnTo>
                    <a:pt x="195" y="2908"/>
                  </a:lnTo>
                  <a:lnTo>
                    <a:pt x="146" y="2887"/>
                  </a:lnTo>
                  <a:lnTo>
                    <a:pt x="91" y="2894"/>
                  </a:lnTo>
                  <a:lnTo>
                    <a:pt x="83" y="2929"/>
                  </a:lnTo>
                  <a:lnTo>
                    <a:pt x="28" y="2950"/>
                  </a:lnTo>
                  <a:lnTo>
                    <a:pt x="0" y="2978"/>
                  </a:lnTo>
                  <a:lnTo>
                    <a:pt x="35" y="3026"/>
                  </a:lnTo>
                  <a:lnTo>
                    <a:pt x="56" y="3047"/>
                  </a:lnTo>
                  <a:lnTo>
                    <a:pt x="63" y="3075"/>
                  </a:lnTo>
                  <a:lnTo>
                    <a:pt x="70" y="3117"/>
                  </a:lnTo>
                  <a:lnTo>
                    <a:pt x="70" y="3152"/>
                  </a:lnTo>
                  <a:lnTo>
                    <a:pt x="132" y="3158"/>
                  </a:lnTo>
                  <a:lnTo>
                    <a:pt x="195" y="3172"/>
                  </a:lnTo>
                  <a:lnTo>
                    <a:pt x="202" y="3186"/>
                  </a:lnTo>
                  <a:lnTo>
                    <a:pt x="216" y="3214"/>
                  </a:lnTo>
                  <a:lnTo>
                    <a:pt x="188" y="3221"/>
                  </a:lnTo>
                  <a:lnTo>
                    <a:pt x="230" y="3270"/>
                  </a:lnTo>
                  <a:lnTo>
                    <a:pt x="223" y="3319"/>
                  </a:lnTo>
                  <a:lnTo>
                    <a:pt x="195" y="3353"/>
                  </a:lnTo>
                  <a:lnTo>
                    <a:pt x="202" y="3402"/>
                  </a:lnTo>
                  <a:lnTo>
                    <a:pt x="230" y="3430"/>
                  </a:lnTo>
                  <a:lnTo>
                    <a:pt x="264" y="3444"/>
                  </a:lnTo>
                  <a:lnTo>
                    <a:pt x="292" y="3451"/>
                  </a:lnTo>
                  <a:lnTo>
                    <a:pt x="313" y="3479"/>
                  </a:lnTo>
                  <a:lnTo>
                    <a:pt x="417" y="3534"/>
                  </a:lnTo>
                  <a:lnTo>
                    <a:pt x="480" y="3541"/>
                  </a:lnTo>
                  <a:lnTo>
                    <a:pt x="508" y="3506"/>
                  </a:lnTo>
                  <a:lnTo>
                    <a:pt x="612" y="3562"/>
                  </a:lnTo>
                  <a:lnTo>
                    <a:pt x="619" y="3562"/>
                  </a:lnTo>
                  <a:lnTo>
                    <a:pt x="640" y="3597"/>
                  </a:lnTo>
                  <a:lnTo>
                    <a:pt x="654" y="3597"/>
                  </a:lnTo>
                  <a:lnTo>
                    <a:pt x="619" y="3666"/>
                  </a:lnTo>
                  <a:lnTo>
                    <a:pt x="647" y="3694"/>
                  </a:lnTo>
                  <a:lnTo>
                    <a:pt x="661" y="3798"/>
                  </a:lnTo>
                  <a:lnTo>
                    <a:pt x="723" y="3833"/>
                  </a:lnTo>
                  <a:lnTo>
                    <a:pt x="744" y="3903"/>
                  </a:lnTo>
                  <a:lnTo>
                    <a:pt x="744" y="3910"/>
                  </a:lnTo>
                  <a:lnTo>
                    <a:pt x="682" y="3889"/>
                  </a:lnTo>
                  <a:lnTo>
                    <a:pt x="619" y="3889"/>
                  </a:lnTo>
                  <a:lnTo>
                    <a:pt x="557" y="3910"/>
                  </a:lnTo>
                  <a:lnTo>
                    <a:pt x="543" y="3965"/>
                  </a:lnTo>
                  <a:lnTo>
                    <a:pt x="564" y="4042"/>
                  </a:lnTo>
                  <a:lnTo>
                    <a:pt x="550" y="4035"/>
                  </a:lnTo>
                  <a:lnTo>
                    <a:pt x="522" y="4070"/>
                  </a:lnTo>
                  <a:lnTo>
                    <a:pt x="515" y="4139"/>
                  </a:lnTo>
                  <a:lnTo>
                    <a:pt x="487" y="4153"/>
                  </a:lnTo>
                  <a:lnTo>
                    <a:pt x="480" y="4174"/>
                  </a:lnTo>
                  <a:lnTo>
                    <a:pt x="425" y="4188"/>
                  </a:lnTo>
                  <a:lnTo>
                    <a:pt x="390" y="4230"/>
                  </a:lnTo>
                  <a:lnTo>
                    <a:pt x="390" y="4271"/>
                  </a:lnTo>
                  <a:lnTo>
                    <a:pt x="417" y="4334"/>
                  </a:lnTo>
                  <a:lnTo>
                    <a:pt x="445" y="4362"/>
                  </a:lnTo>
                  <a:lnTo>
                    <a:pt x="466" y="4390"/>
                  </a:lnTo>
                  <a:lnTo>
                    <a:pt x="529" y="4459"/>
                  </a:lnTo>
                  <a:lnTo>
                    <a:pt x="487" y="4466"/>
                  </a:lnTo>
                  <a:lnTo>
                    <a:pt x="445" y="4487"/>
                  </a:lnTo>
                  <a:lnTo>
                    <a:pt x="445" y="4592"/>
                  </a:lnTo>
                  <a:lnTo>
                    <a:pt x="445" y="4613"/>
                  </a:lnTo>
                  <a:lnTo>
                    <a:pt x="487" y="4633"/>
                  </a:lnTo>
                  <a:lnTo>
                    <a:pt x="515" y="4689"/>
                  </a:lnTo>
                  <a:lnTo>
                    <a:pt x="543" y="4696"/>
                  </a:lnTo>
                  <a:lnTo>
                    <a:pt x="550" y="4731"/>
                  </a:lnTo>
                  <a:lnTo>
                    <a:pt x="557" y="4759"/>
                  </a:lnTo>
                  <a:lnTo>
                    <a:pt x="577" y="4779"/>
                  </a:lnTo>
                  <a:lnTo>
                    <a:pt x="612" y="4786"/>
                  </a:lnTo>
                  <a:lnTo>
                    <a:pt x="626" y="4884"/>
                  </a:lnTo>
                  <a:lnTo>
                    <a:pt x="689" y="4898"/>
                  </a:lnTo>
                  <a:lnTo>
                    <a:pt x="751" y="4891"/>
                  </a:lnTo>
                  <a:lnTo>
                    <a:pt x="779" y="4919"/>
                  </a:lnTo>
                  <a:lnTo>
                    <a:pt x="842" y="4953"/>
                  </a:lnTo>
                  <a:lnTo>
                    <a:pt x="877" y="4953"/>
                  </a:lnTo>
                  <a:lnTo>
                    <a:pt x="890" y="4953"/>
                  </a:lnTo>
                  <a:lnTo>
                    <a:pt x="918" y="4960"/>
                  </a:lnTo>
                  <a:lnTo>
                    <a:pt x="932" y="4960"/>
                  </a:lnTo>
                  <a:lnTo>
                    <a:pt x="988" y="5037"/>
                  </a:lnTo>
                  <a:lnTo>
                    <a:pt x="1016" y="5023"/>
                  </a:lnTo>
                  <a:lnTo>
                    <a:pt x="1051" y="5078"/>
                  </a:lnTo>
                  <a:lnTo>
                    <a:pt x="1085" y="5086"/>
                  </a:lnTo>
                  <a:lnTo>
                    <a:pt x="1134" y="5078"/>
                  </a:lnTo>
                  <a:lnTo>
                    <a:pt x="1183" y="5086"/>
                  </a:lnTo>
                  <a:lnTo>
                    <a:pt x="1211" y="5148"/>
                  </a:lnTo>
                  <a:lnTo>
                    <a:pt x="1273" y="5127"/>
                  </a:lnTo>
                  <a:lnTo>
                    <a:pt x="1315" y="5148"/>
                  </a:lnTo>
                  <a:lnTo>
                    <a:pt x="1329" y="5113"/>
                  </a:lnTo>
                  <a:lnTo>
                    <a:pt x="1378" y="5120"/>
                  </a:lnTo>
                  <a:lnTo>
                    <a:pt x="1447" y="5086"/>
                  </a:lnTo>
                  <a:lnTo>
                    <a:pt x="1489" y="5092"/>
                  </a:lnTo>
                  <a:lnTo>
                    <a:pt x="1503" y="5078"/>
                  </a:lnTo>
                  <a:lnTo>
                    <a:pt x="1565" y="5058"/>
                  </a:lnTo>
                  <a:lnTo>
                    <a:pt x="1635" y="5072"/>
                  </a:lnTo>
                  <a:lnTo>
                    <a:pt x="1663" y="5016"/>
                  </a:lnTo>
                  <a:lnTo>
                    <a:pt x="1725" y="5016"/>
                  </a:lnTo>
                  <a:lnTo>
                    <a:pt x="1753" y="5016"/>
                  </a:lnTo>
                  <a:lnTo>
                    <a:pt x="1725" y="5051"/>
                  </a:lnTo>
                  <a:lnTo>
                    <a:pt x="1732" y="5078"/>
                  </a:lnTo>
                  <a:lnTo>
                    <a:pt x="1718" y="5113"/>
                  </a:lnTo>
                  <a:lnTo>
                    <a:pt x="1795" y="5211"/>
                  </a:lnTo>
                  <a:lnTo>
                    <a:pt x="1795" y="5266"/>
                  </a:lnTo>
                  <a:lnTo>
                    <a:pt x="1823" y="5253"/>
                  </a:lnTo>
                  <a:lnTo>
                    <a:pt x="1851" y="5225"/>
                  </a:lnTo>
                  <a:lnTo>
                    <a:pt x="1864" y="5211"/>
                  </a:lnTo>
                  <a:lnTo>
                    <a:pt x="1830" y="5218"/>
                  </a:lnTo>
                  <a:lnTo>
                    <a:pt x="1795" y="5169"/>
                  </a:lnTo>
                  <a:lnTo>
                    <a:pt x="1809" y="5127"/>
                  </a:lnTo>
                  <a:lnTo>
                    <a:pt x="1851" y="5106"/>
                  </a:lnTo>
                  <a:lnTo>
                    <a:pt x="1892" y="5092"/>
                  </a:lnTo>
                  <a:lnTo>
                    <a:pt x="1997" y="5141"/>
                  </a:lnTo>
                  <a:lnTo>
                    <a:pt x="2003" y="5141"/>
                  </a:lnTo>
                  <a:lnTo>
                    <a:pt x="2066" y="5155"/>
                  </a:lnTo>
                  <a:lnTo>
                    <a:pt x="2080" y="5176"/>
                  </a:lnTo>
                  <a:lnTo>
                    <a:pt x="2136" y="5155"/>
                  </a:lnTo>
                  <a:lnTo>
                    <a:pt x="2157" y="5176"/>
                  </a:lnTo>
                  <a:lnTo>
                    <a:pt x="2164" y="5176"/>
                  </a:lnTo>
                  <a:lnTo>
                    <a:pt x="2212" y="5155"/>
                  </a:lnTo>
                  <a:lnTo>
                    <a:pt x="2219" y="5155"/>
                  </a:lnTo>
                  <a:lnTo>
                    <a:pt x="2282" y="5176"/>
                  </a:lnTo>
                  <a:lnTo>
                    <a:pt x="2289" y="5155"/>
                  </a:lnTo>
                  <a:lnTo>
                    <a:pt x="2289" y="5141"/>
                  </a:lnTo>
                  <a:lnTo>
                    <a:pt x="2254" y="5120"/>
                  </a:lnTo>
                  <a:lnTo>
                    <a:pt x="2254" y="5113"/>
                  </a:lnTo>
                  <a:lnTo>
                    <a:pt x="2233" y="5106"/>
                  </a:lnTo>
                  <a:lnTo>
                    <a:pt x="2261" y="5072"/>
                  </a:lnTo>
                  <a:lnTo>
                    <a:pt x="2310" y="5058"/>
                  </a:lnTo>
                  <a:lnTo>
                    <a:pt x="2345" y="5086"/>
                  </a:lnTo>
                  <a:lnTo>
                    <a:pt x="2386" y="5072"/>
                  </a:lnTo>
                  <a:lnTo>
                    <a:pt x="2407" y="5037"/>
                  </a:lnTo>
                  <a:lnTo>
                    <a:pt x="2421" y="5023"/>
                  </a:lnTo>
                  <a:lnTo>
                    <a:pt x="2421" y="4981"/>
                  </a:lnTo>
                  <a:lnTo>
                    <a:pt x="2414" y="4953"/>
                  </a:lnTo>
                  <a:lnTo>
                    <a:pt x="2386" y="4939"/>
                  </a:lnTo>
                  <a:lnTo>
                    <a:pt x="2379" y="4911"/>
                  </a:lnTo>
                  <a:lnTo>
                    <a:pt x="2379" y="4898"/>
                  </a:lnTo>
                  <a:lnTo>
                    <a:pt x="2393" y="4884"/>
                  </a:lnTo>
                  <a:lnTo>
                    <a:pt x="2365" y="4849"/>
                  </a:lnTo>
                  <a:lnTo>
                    <a:pt x="2414" y="4793"/>
                  </a:lnTo>
                  <a:lnTo>
                    <a:pt x="2365" y="4765"/>
                  </a:lnTo>
                  <a:lnTo>
                    <a:pt x="2365" y="4731"/>
                  </a:lnTo>
                  <a:lnTo>
                    <a:pt x="2407" y="4717"/>
                  </a:lnTo>
                  <a:lnTo>
                    <a:pt x="2442" y="4745"/>
                  </a:lnTo>
                  <a:lnTo>
                    <a:pt x="2442" y="4689"/>
                  </a:lnTo>
                  <a:lnTo>
                    <a:pt x="2456" y="4668"/>
                  </a:lnTo>
                  <a:lnTo>
                    <a:pt x="2463" y="4668"/>
                  </a:lnTo>
                  <a:lnTo>
                    <a:pt x="2491" y="4668"/>
                  </a:lnTo>
                  <a:lnTo>
                    <a:pt x="2511" y="4619"/>
                  </a:lnTo>
                  <a:lnTo>
                    <a:pt x="2504" y="4592"/>
                  </a:lnTo>
                  <a:lnTo>
                    <a:pt x="2511" y="4585"/>
                  </a:lnTo>
                  <a:lnTo>
                    <a:pt x="2511" y="4564"/>
                  </a:lnTo>
                  <a:lnTo>
                    <a:pt x="2511" y="4557"/>
                  </a:lnTo>
                  <a:lnTo>
                    <a:pt x="2518" y="4557"/>
                  </a:lnTo>
                  <a:lnTo>
                    <a:pt x="2546" y="4536"/>
                  </a:lnTo>
                  <a:lnTo>
                    <a:pt x="2574" y="4529"/>
                  </a:lnTo>
                  <a:lnTo>
                    <a:pt x="2609" y="4501"/>
                  </a:lnTo>
                  <a:lnTo>
                    <a:pt x="2623" y="4466"/>
                  </a:lnTo>
                  <a:lnTo>
                    <a:pt x="2609" y="4418"/>
                  </a:lnTo>
                  <a:lnTo>
                    <a:pt x="2609" y="4404"/>
                  </a:lnTo>
                  <a:lnTo>
                    <a:pt x="2588" y="4383"/>
                  </a:lnTo>
                  <a:lnTo>
                    <a:pt x="2595" y="4355"/>
                  </a:lnTo>
                  <a:lnTo>
                    <a:pt x="2637" y="4334"/>
                  </a:lnTo>
                  <a:lnTo>
                    <a:pt x="2644" y="4320"/>
                  </a:lnTo>
                  <a:lnTo>
                    <a:pt x="2623" y="4320"/>
                  </a:lnTo>
                  <a:lnTo>
                    <a:pt x="2651" y="4265"/>
                  </a:lnTo>
                  <a:lnTo>
                    <a:pt x="2685" y="4237"/>
                  </a:lnTo>
                  <a:lnTo>
                    <a:pt x="2692" y="426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  <p:sp>
          <p:nvSpPr>
            <p:cNvPr id="158" name="Freeform 117"/>
            <p:cNvSpPr>
              <a:spLocks noChangeArrowheads="1"/>
            </p:cNvSpPr>
            <p:nvPr/>
          </p:nvSpPr>
          <p:spPr bwMode="auto">
            <a:xfrm>
              <a:off x="13192088" y="3666900"/>
              <a:ext cx="876078" cy="532310"/>
            </a:xfrm>
            <a:custGeom>
              <a:avLst/>
              <a:gdLst>
                <a:gd name="T0" fmla="*/ 1273 w 1866"/>
                <a:gd name="T1" fmla="*/ 0 h 1135"/>
                <a:gd name="T2" fmla="*/ 1148 w 1866"/>
                <a:gd name="T3" fmla="*/ 55 h 1135"/>
                <a:gd name="T4" fmla="*/ 1079 w 1866"/>
                <a:gd name="T5" fmla="*/ 104 h 1135"/>
                <a:gd name="T6" fmla="*/ 967 w 1866"/>
                <a:gd name="T7" fmla="*/ 187 h 1135"/>
                <a:gd name="T8" fmla="*/ 870 w 1866"/>
                <a:gd name="T9" fmla="*/ 160 h 1135"/>
                <a:gd name="T10" fmla="*/ 724 w 1866"/>
                <a:gd name="T11" fmla="*/ 202 h 1135"/>
                <a:gd name="T12" fmla="*/ 612 w 1866"/>
                <a:gd name="T13" fmla="*/ 264 h 1135"/>
                <a:gd name="T14" fmla="*/ 487 w 1866"/>
                <a:gd name="T15" fmla="*/ 271 h 1135"/>
                <a:gd name="T16" fmla="*/ 355 w 1866"/>
                <a:gd name="T17" fmla="*/ 153 h 1135"/>
                <a:gd name="T18" fmla="*/ 244 w 1866"/>
                <a:gd name="T19" fmla="*/ 271 h 1135"/>
                <a:gd name="T20" fmla="*/ 118 w 1866"/>
                <a:gd name="T21" fmla="*/ 299 h 1135"/>
                <a:gd name="T22" fmla="*/ 21 w 1866"/>
                <a:gd name="T23" fmla="*/ 334 h 1135"/>
                <a:gd name="T24" fmla="*/ 0 w 1866"/>
                <a:gd name="T25" fmla="*/ 487 h 1135"/>
                <a:gd name="T26" fmla="*/ 14 w 1866"/>
                <a:gd name="T27" fmla="*/ 577 h 1135"/>
                <a:gd name="T28" fmla="*/ 146 w 1866"/>
                <a:gd name="T29" fmla="*/ 681 h 1135"/>
                <a:gd name="T30" fmla="*/ 181 w 1866"/>
                <a:gd name="T31" fmla="*/ 716 h 1135"/>
                <a:gd name="T32" fmla="*/ 265 w 1866"/>
                <a:gd name="T33" fmla="*/ 723 h 1135"/>
                <a:gd name="T34" fmla="*/ 292 w 1866"/>
                <a:gd name="T35" fmla="*/ 793 h 1135"/>
                <a:gd name="T36" fmla="*/ 306 w 1866"/>
                <a:gd name="T37" fmla="*/ 1002 h 1135"/>
                <a:gd name="T38" fmla="*/ 390 w 1866"/>
                <a:gd name="T39" fmla="*/ 1071 h 1135"/>
                <a:gd name="T40" fmla="*/ 487 w 1866"/>
                <a:gd name="T41" fmla="*/ 1134 h 1135"/>
                <a:gd name="T42" fmla="*/ 543 w 1866"/>
                <a:gd name="T43" fmla="*/ 1036 h 1135"/>
                <a:gd name="T44" fmla="*/ 647 w 1866"/>
                <a:gd name="T45" fmla="*/ 1106 h 1135"/>
                <a:gd name="T46" fmla="*/ 766 w 1866"/>
                <a:gd name="T47" fmla="*/ 1036 h 1135"/>
                <a:gd name="T48" fmla="*/ 939 w 1866"/>
                <a:gd name="T49" fmla="*/ 1036 h 1135"/>
                <a:gd name="T50" fmla="*/ 1051 w 1866"/>
                <a:gd name="T51" fmla="*/ 946 h 1135"/>
                <a:gd name="T52" fmla="*/ 1197 w 1866"/>
                <a:gd name="T53" fmla="*/ 890 h 1135"/>
                <a:gd name="T54" fmla="*/ 1322 w 1866"/>
                <a:gd name="T55" fmla="*/ 925 h 1135"/>
                <a:gd name="T56" fmla="*/ 1454 w 1866"/>
                <a:gd name="T57" fmla="*/ 939 h 1135"/>
                <a:gd name="T58" fmla="*/ 1524 w 1866"/>
                <a:gd name="T59" fmla="*/ 953 h 1135"/>
                <a:gd name="T60" fmla="*/ 1719 w 1866"/>
                <a:gd name="T61" fmla="*/ 842 h 1135"/>
                <a:gd name="T62" fmla="*/ 1795 w 1866"/>
                <a:gd name="T63" fmla="*/ 855 h 1135"/>
                <a:gd name="T64" fmla="*/ 1837 w 1866"/>
                <a:gd name="T65" fmla="*/ 772 h 1135"/>
                <a:gd name="T66" fmla="*/ 1830 w 1866"/>
                <a:gd name="T67" fmla="*/ 716 h 1135"/>
                <a:gd name="T68" fmla="*/ 1816 w 1866"/>
                <a:gd name="T69" fmla="*/ 661 h 1135"/>
                <a:gd name="T70" fmla="*/ 1851 w 1866"/>
                <a:gd name="T71" fmla="*/ 598 h 1135"/>
                <a:gd name="T72" fmla="*/ 1851 w 1866"/>
                <a:gd name="T73" fmla="*/ 549 h 1135"/>
                <a:gd name="T74" fmla="*/ 1753 w 1866"/>
                <a:gd name="T75" fmla="*/ 445 h 1135"/>
                <a:gd name="T76" fmla="*/ 1739 w 1866"/>
                <a:gd name="T77" fmla="*/ 320 h 1135"/>
                <a:gd name="T78" fmla="*/ 1739 w 1866"/>
                <a:gd name="T79" fmla="*/ 153 h 1135"/>
                <a:gd name="T80" fmla="*/ 1558 w 1866"/>
                <a:gd name="T81" fmla="*/ 97 h 1135"/>
                <a:gd name="T82" fmla="*/ 1489 w 1866"/>
                <a:gd name="T83" fmla="*/ 83 h 1135"/>
                <a:gd name="T84" fmla="*/ 1322 w 1866"/>
                <a:gd name="T85" fmla="*/ 35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66" h="1135">
                  <a:moveTo>
                    <a:pt x="1322" y="35"/>
                  </a:moveTo>
                  <a:lnTo>
                    <a:pt x="1294" y="28"/>
                  </a:lnTo>
                  <a:lnTo>
                    <a:pt x="1273" y="0"/>
                  </a:lnTo>
                  <a:lnTo>
                    <a:pt x="1225" y="0"/>
                  </a:lnTo>
                  <a:lnTo>
                    <a:pt x="1211" y="62"/>
                  </a:lnTo>
                  <a:lnTo>
                    <a:pt x="1148" y="55"/>
                  </a:lnTo>
                  <a:lnTo>
                    <a:pt x="1099" y="83"/>
                  </a:lnTo>
                  <a:lnTo>
                    <a:pt x="1106" y="104"/>
                  </a:lnTo>
                  <a:lnTo>
                    <a:pt x="1079" y="104"/>
                  </a:lnTo>
                  <a:lnTo>
                    <a:pt x="1016" y="153"/>
                  </a:lnTo>
                  <a:lnTo>
                    <a:pt x="981" y="160"/>
                  </a:lnTo>
                  <a:lnTo>
                    <a:pt x="967" y="187"/>
                  </a:lnTo>
                  <a:lnTo>
                    <a:pt x="939" y="187"/>
                  </a:lnTo>
                  <a:lnTo>
                    <a:pt x="905" y="167"/>
                  </a:lnTo>
                  <a:lnTo>
                    <a:pt x="870" y="160"/>
                  </a:lnTo>
                  <a:lnTo>
                    <a:pt x="807" y="139"/>
                  </a:lnTo>
                  <a:lnTo>
                    <a:pt x="752" y="202"/>
                  </a:lnTo>
                  <a:lnTo>
                    <a:pt x="724" y="202"/>
                  </a:lnTo>
                  <a:lnTo>
                    <a:pt x="682" y="215"/>
                  </a:lnTo>
                  <a:lnTo>
                    <a:pt x="640" y="271"/>
                  </a:lnTo>
                  <a:lnTo>
                    <a:pt x="612" y="264"/>
                  </a:lnTo>
                  <a:lnTo>
                    <a:pt x="585" y="229"/>
                  </a:lnTo>
                  <a:lnTo>
                    <a:pt x="536" y="264"/>
                  </a:lnTo>
                  <a:lnTo>
                    <a:pt x="487" y="271"/>
                  </a:lnTo>
                  <a:lnTo>
                    <a:pt x="439" y="187"/>
                  </a:lnTo>
                  <a:lnTo>
                    <a:pt x="404" y="139"/>
                  </a:lnTo>
                  <a:lnTo>
                    <a:pt x="355" y="153"/>
                  </a:lnTo>
                  <a:lnTo>
                    <a:pt x="320" y="202"/>
                  </a:lnTo>
                  <a:lnTo>
                    <a:pt x="313" y="250"/>
                  </a:lnTo>
                  <a:lnTo>
                    <a:pt x="244" y="271"/>
                  </a:lnTo>
                  <a:lnTo>
                    <a:pt x="209" y="299"/>
                  </a:lnTo>
                  <a:lnTo>
                    <a:pt x="146" y="320"/>
                  </a:lnTo>
                  <a:lnTo>
                    <a:pt x="118" y="299"/>
                  </a:lnTo>
                  <a:lnTo>
                    <a:pt x="91" y="334"/>
                  </a:lnTo>
                  <a:lnTo>
                    <a:pt x="63" y="320"/>
                  </a:lnTo>
                  <a:lnTo>
                    <a:pt x="21" y="334"/>
                  </a:lnTo>
                  <a:lnTo>
                    <a:pt x="0" y="382"/>
                  </a:lnTo>
                  <a:lnTo>
                    <a:pt x="0" y="424"/>
                  </a:lnTo>
                  <a:lnTo>
                    <a:pt x="0" y="487"/>
                  </a:lnTo>
                  <a:lnTo>
                    <a:pt x="0" y="529"/>
                  </a:lnTo>
                  <a:lnTo>
                    <a:pt x="21" y="542"/>
                  </a:lnTo>
                  <a:lnTo>
                    <a:pt x="14" y="577"/>
                  </a:lnTo>
                  <a:lnTo>
                    <a:pt x="35" y="619"/>
                  </a:lnTo>
                  <a:lnTo>
                    <a:pt x="118" y="675"/>
                  </a:lnTo>
                  <a:lnTo>
                    <a:pt x="146" y="681"/>
                  </a:lnTo>
                  <a:lnTo>
                    <a:pt x="160" y="675"/>
                  </a:lnTo>
                  <a:lnTo>
                    <a:pt x="167" y="709"/>
                  </a:lnTo>
                  <a:lnTo>
                    <a:pt x="181" y="716"/>
                  </a:lnTo>
                  <a:lnTo>
                    <a:pt x="188" y="730"/>
                  </a:lnTo>
                  <a:lnTo>
                    <a:pt x="223" y="730"/>
                  </a:lnTo>
                  <a:lnTo>
                    <a:pt x="265" y="723"/>
                  </a:lnTo>
                  <a:lnTo>
                    <a:pt x="313" y="751"/>
                  </a:lnTo>
                  <a:lnTo>
                    <a:pt x="313" y="779"/>
                  </a:lnTo>
                  <a:lnTo>
                    <a:pt x="292" y="793"/>
                  </a:lnTo>
                  <a:lnTo>
                    <a:pt x="285" y="883"/>
                  </a:lnTo>
                  <a:lnTo>
                    <a:pt x="313" y="918"/>
                  </a:lnTo>
                  <a:lnTo>
                    <a:pt x="306" y="1002"/>
                  </a:lnTo>
                  <a:lnTo>
                    <a:pt x="320" y="1036"/>
                  </a:lnTo>
                  <a:lnTo>
                    <a:pt x="327" y="1057"/>
                  </a:lnTo>
                  <a:lnTo>
                    <a:pt x="390" y="1071"/>
                  </a:lnTo>
                  <a:lnTo>
                    <a:pt x="411" y="1085"/>
                  </a:lnTo>
                  <a:lnTo>
                    <a:pt x="404" y="1120"/>
                  </a:lnTo>
                  <a:lnTo>
                    <a:pt x="487" y="1134"/>
                  </a:lnTo>
                  <a:lnTo>
                    <a:pt x="508" y="1120"/>
                  </a:lnTo>
                  <a:lnTo>
                    <a:pt x="522" y="1043"/>
                  </a:lnTo>
                  <a:lnTo>
                    <a:pt x="543" y="1036"/>
                  </a:lnTo>
                  <a:lnTo>
                    <a:pt x="557" y="1113"/>
                  </a:lnTo>
                  <a:lnTo>
                    <a:pt x="585" y="1099"/>
                  </a:lnTo>
                  <a:lnTo>
                    <a:pt x="647" y="1106"/>
                  </a:lnTo>
                  <a:lnTo>
                    <a:pt x="682" y="1120"/>
                  </a:lnTo>
                  <a:lnTo>
                    <a:pt x="752" y="1057"/>
                  </a:lnTo>
                  <a:lnTo>
                    <a:pt x="766" y="1036"/>
                  </a:lnTo>
                  <a:lnTo>
                    <a:pt x="849" y="1036"/>
                  </a:lnTo>
                  <a:lnTo>
                    <a:pt x="918" y="1008"/>
                  </a:lnTo>
                  <a:lnTo>
                    <a:pt x="939" y="1036"/>
                  </a:lnTo>
                  <a:lnTo>
                    <a:pt x="1002" y="981"/>
                  </a:lnTo>
                  <a:lnTo>
                    <a:pt x="1016" y="960"/>
                  </a:lnTo>
                  <a:lnTo>
                    <a:pt x="1051" y="946"/>
                  </a:lnTo>
                  <a:lnTo>
                    <a:pt x="1092" y="890"/>
                  </a:lnTo>
                  <a:lnTo>
                    <a:pt x="1148" y="883"/>
                  </a:lnTo>
                  <a:lnTo>
                    <a:pt x="1197" y="890"/>
                  </a:lnTo>
                  <a:lnTo>
                    <a:pt x="1245" y="855"/>
                  </a:lnTo>
                  <a:lnTo>
                    <a:pt x="1322" y="911"/>
                  </a:lnTo>
                  <a:lnTo>
                    <a:pt x="1322" y="925"/>
                  </a:lnTo>
                  <a:lnTo>
                    <a:pt x="1364" y="911"/>
                  </a:lnTo>
                  <a:lnTo>
                    <a:pt x="1433" y="946"/>
                  </a:lnTo>
                  <a:lnTo>
                    <a:pt x="1454" y="939"/>
                  </a:lnTo>
                  <a:lnTo>
                    <a:pt x="1468" y="939"/>
                  </a:lnTo>
                  <a:lnTo>
                    <a:pt x="1510" y="946"/>
                  </a:lnTo>
                  <a:lnTo>
                    <a:pt x="1524" y="953"/>
                  </a:lnTo>
                  <a:lnTo>
                    <a:pt x="1531" y="946"/>
                  </a:lnTo>
                  <a:lnTo>
                    <a:pt x="1628" y="883"/>
                  </a:lnTo>
                  <a:lnTo>
                    <a:pt x="1719" y="842"/>
                  </a:lnTo>
                  <a:lnTo>
                    <a:pt x="1739" y="848"/>
                  </a:lnTo>
                  <a:lnTo>
                    <a:pt x="1788" y="848"/>
                  </a:lnTo>
                  <a:lnTo>
                    <a:pt x="1795" y="855"/>
                  </a:lnTo>
                  <a:lnTo>
                    <a:pt x="1795" y="827"/>
                  </a:lnTo>
                  <a:lnTo>
                    <a:pt x="1795" y="821"/>
                  </a:lnTo>
                  <a:lnTo>
                    <a:pt x="1837" y="772"/>
                  </a:lnTo>
                  <a:lnTo>
                    <a:pt x="1858" y="772"/>
                  </a:lnTo>
                  <a:lnTo>
                    <a:pt x="1865" y="751"/>
                  </a:lnTo>
                  <a:lnTo>
                    <a:pt x="1830" y="716"/>
                  </a:lnTo>
                  <a:lnTo>
                    <a:pt x="1837" y="695"/>
                  </a:lnTo>
                  <a:lnTo>
                    <a:pt x="1823" y="688"/>
                  </a:lnTo>
                  <a:lnTo>
                    <a:pt x="1816" y="661"/>
                  </a:lnTo>
                  <a:lnTo>
                    <a:pt x="1816" y="640"/>
                  </a:lnTo>
                  <a:lnTo>
                    <a:pt x="1837" y="619"/>
                  </a:lnTo>
                  <a:lnTo>
                    <a:pt x="1851" y="598"/>
                  </a:lnTo>
                  <a:lnTo>
                    <a:pt x="1851" y="591"/>
                  </a:lnTo>
                  <a:lnTo>
                    <a:pt x="1858" y="563"/>
                  </a:lnTo>
                  <a:lnTo>
                    <a:pt x="1851" y="549"/>
                  </a:lnTo>
                  <a:lnTo>
                    <a:pt x="1851" y="529"/>
                  </a:lnTo>
                  <a:lnTo>
                    <a:pt x="1795" y="515"/>
                  </a:lnTo>
                  <a:lnTo>
                    <a:pt x="1753" y="445"/>
                  </a:lnTo>
                  <a:lnTo>
                    <a:pt x="1732" y="362"/>
                  </a:lnTo>
                  <a:lnTo>
                    <a:pt x="1753" y="348"/>
                  </a:lnTo>
                  <a:lnTo>
                    <a:pt x="1739" y="320"/>
                  </a:lnTo>
                  <a:lnTo>
                    <a:pt x="1753" y="292"/>
                  </a:lnTo>
                  <a:lnTo>
                    <a:pt x="1753" y="257"/>
                  </a:lnTo>
                  <a:lnTo>
                    <a:pt x="1739" y="153"/>
                  </a:lnTo>
                  <a:lnTo>
                    <a:pt x="1691" y="132"/>
                  </a:lnTo>
                  <a:lnTo>
                    <a:pt x="1635" y="153"/>
                  </a:lnTo>
                  <a:lnTo>
                    <a:pt x="1558" y="97"/>
                  </a:lnTo>
                  <a:lnTo>
                    <a:pt x="1531" y="132"/>
                  </a:lnTo>
                  <a:lnTo>
                    <a:pt x="1489" y="125"/>
                  </a:lnTo>
                  <a:lnTo>
                    <a:pt x="1489" y="83"/>
                  </a:lnTo>
                  <a:lnTo>
                    <a:pt x="1454" y="62"/>
                  </a:lnTo>
                  <a:lnTo>
                    <a:pt x="1406" y="21"/>
                  </a:lnTo>
                  <a:lnTo>
                    <a:pt x="1322" y="35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>
                <a:latin typeface="Calibri" panose="020F050202020403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CFC7822C-890C-1299-C5FA-707C5E111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Map: Italy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A4D95350-8666-19EB-BF91-E78E1E90A140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ontine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Europe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b="1">
              <a:solidFill>
                <a:schemeClr val="accent1"/>
              </a:solidFill>
              <a:sym typeface="Futura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Capit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Rome</a:t>
            </a:r>
          </a:p>
          <a:p>
            <a:pPr>
              <a:spcBef>
                <a:spcPts val="0"/>
              </a:spcBef>
            </a:pPr>
            <a:endParaRPr lang="en-US" sz="1400"/>
          </a:p>
          <a:p>
            <a:pPr marL="0" indent="0">
              <a:spcBef>
                <a:spcPts val="0"/>
              </a:spcBef>
              <a:buNone/>
            </a:pPr>
            <a:r>
              <a:rPr lang="en-US" sz="1400" b="1">
                <a:solidFill>
                  <a:schemeClr val="accent1"/>
                </a:solidFill>
              </a:rPr>
              <a:t>Official language(s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/>
              <a:t>Italian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C9A90983-F00C-7967-7170-6FAE3EBD13A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maps</a:t>
            </a:r>
          </a:p>
        </p:txBody>
      </p:sp>
      <p:grpSp>
        <p:nvGrpSpPr>
          <p:cNvPr id="4" name="Gruppieren 96">
            <a:extLst>
              <a:ext uri="{FF2B5EF4-FFF2-40B4-BE49-F238E27FC236}">
                <a16:creationId xmlns:a16="http://schemas.microsoft.com/office/drawing/2014/main" id="{D59CC440-A58E-A3C1-25E3-BF40B86F3CAA}"/>
              </a:ext>
            </a:extLst>
          </p:cNvPr>
          <p:cNvGrpSpPr>
            <a:grpSpLocks/>
          </p:cNvGrpSpPr>
          <p:nvPr/>
        </p:nvGrpSpPr>
        <p:grpSpPr>
          <a:xfrm>
            <a:off x="5939245" y="3290076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E017D1D7-92AA-DC4C-79F1-20879726A19F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Ellipse 98">
              <a:extLst>
                <a:ext uri="{FF2B5EF4-FFF2-40B4-BE49-F238E27FC236}">
                  <a16:creationId xmlns:a16="http://schemas.microsoft.com/office/drawing/2014/main" id="{A76F80C9-8E20-C9DD-6C20-936F57012DF2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24760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